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4"/>
    <p:sldMasterId id="2147483680" r:id="rId5"/>
  </p:sldMasterIdLst>
  <p:notesMasterIdLst>
    <p:notesMasterId r:id="rId41"/>
  </p:notesMasterIdLst>
  <p:handoutMasterIdLst>
    <p:handoutMasterId r:id="rId42"/>
  </p:handoutMasterIdLst>
  <p:sldIdLst>
    <p:sldId id="298" r:id="rId6"/>
    <p:sldId id="328" r:id="rId7"/>
    <p:sldId id="415" r:id="rId8"/>
    <p:sldId id="397" r:id="rId9"/>
    <p:sldId id="402" r:id="rId10"/>
    <p:sldId id="386" r:id="rId11"/>
    <p:sldId id="401" r:id="rId12"/>
    <p:sldId id="400" r:id="rId13"/>
    <p:sldId id="388" r:id="rId14"/>
    <p:sldId id="403" r:id="rId15"/>
    <p:sldId id="408" r:id="rId16"/>
    <p:sldId id="404" r:id="rId17"/>
    <p:sldId id="384" r:id="rId18"/>
    <p:sldId id="405" r:id="rId19"/>
    <p:sldId id="379" r:id="rId20"/>
    <p:sldId id="409" r:id="rId21"/>
    <p:sldId id="410" r:id="rId22"/>
    <p:sldId id="381" r:id="rId23"/>
    <p:sldId id="411" r:id="rId24"/>
    <p:sldId id="412" r:id="rId25"/>
    <p:sldId id="380" r:id="rId26"/>
    <p:sldId id="414" r:id="rId27"/>
    <p:sldId id="393" r:id="rId28"/>
    <p:sldId id="413" r:id="rId29"/>
    <p:sldId id="389" r:id="rId30"/>
    <p:sldId id="390" r:id="rId31"/>
    <p:sldId id="392" r:id="rId32"/>
    <p:sldId id="391" r:id="rId33"/>
    <p:sldId id="259" r:id="rId34"/>
    <p:sldId id="406" r:id="rId35"/>
    <p:sldId id="383" r:id="rId36"/>
    <p:sldId id="407" r:id="rId37"/>
    <p:sldId id="394" r:id="rId38"/>
    <p:sldId id="417" r:id="rId39"/>
    <p:sldId id="398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76BC"/>
    <a:srgbClr val="EE7822"/>
    <a:srgbClr val="1F6CA7"/>
    <a:srgbClr val="8DC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463415-E65E-4D36-AE1A-90E220568DCE}" v="68" dt="2020-05-04T17:40:08.661"/>
    <p1510:client id="{4406B50D-829C-4348-9A76-66B67EBE7A35}" v="5" dt="2020-05-04T17:29:31.318"/>
    <p1510:client id="{DF50A666-5201-495E-A93E-B705F660D1D0}" v="23" dt="2020-05-04T14:02:06.8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ardo Calejo" userId="7b10c9c5-10d4-4f9c-8c10-4384294b620e" providerId="ADAL" clId="{4406B50D-829C-4348-9A76-66B67EBE7A35}"/>
    <pc:docChg chg="modSld sldOrd">
      <pc:chgData name="Ricardo Calejo" userId="7b10c9c5-10d4-4f9c-8c10-4384294b620e" providerId="ADAL" clId="{4406B50D-829C-4348-9A76-66B67EBE7A35}" dt="2020-05-04T17:29:31.318" v="4" actId="20578"/>
      <pc:docMkLst>
        <pc:docMk/>
      </pc:docMkLst>
      <pc:sldChg chg="modSp mod">
        <pc:chgData name="Ricardo Calejo" userId="7b10c9c5-10d4-4f9c-8c10-4384294b620e" providerId="ADAL" clId="{4406B50D-829C-4348-9A76-66B67EBE7A35}" dt="2020-05-04T17:29:25.817" v="3" actId="1076"/>
        <pc:sldMkLst>
          <pc:docMk/>
          <pc:sldMk cId="445433507" sldId="298"/>
        </pc:sldMkLst>
        <pc:spChg chg="mod">
          <ac:chgData name="Ricardo Calejo" userId="7b10c9c5-10d4-4f9c-8c10-4384294b620e" providerId="ADAL" clId="{4406B50D-829C-4348-9A76-66B67EBE7A35}" dt="2020-05-04T17:29:22.025" v="2" actId="20577"/>
          <ac:spMkLst>
            <pc:docMk/>
            <pc:sldMk cId="445433507" sldId="298"/>
            <ac:spMk id="12" creationId="{00000000-0000-0000-0000-000000000000}"/>
          </ac:spMkLst>
        </pc:spChg>
        <pc:spChg chg="mod">
          <ac:chgData name="Ricardo Calejo" userId="7b10c9c5-10d4-4f9c-8c10-4384294b620e" providerId="ADAL" clId="{4406B50D-829C-4348-9A76-66B67EBE7A35}" dt="2020-05-04T17:29:25.817" v="3" actId="1076"/>
          <ac:spMkLst>
            <pc:docMk/>
            <pc:sldMk cId="445433507" sldId="298"/>
            <ac:spMk id="22" creationId="{00000000-0000-0000-0000-000000000000}"/>
          </ac:spMkLst>
        </pc:spChg>
      </pc:sldChg>
      <pc:sldChg chg="ord">
        <pc:chgData name="Ricardo Calejo" userId="7b10c9c5-10d4-4f9c-8c10-4384294b620e" providerId="ADAL" clId="{4406B50D-829C-4348-9A76-66B67EBE7A35}" dt="2020-05-04T17:29:31.318" v="4" actId="20578"/>
        <pc:sldMkLst>
          <pc:docMk/>
          <pc:sldMk cId="2937093091" sldId="8316"/>
        </pc:sldMkLst>
      </pc:sldChg>
    </pc:docChg>
  </pc:docChgLst>
  <pc:docChgLst>
    <pc:chgData name="Rui Romano" userId="0c27b0b7-f4ae-42bc-b782-498e154f5576" providerId="ADAL" clId="{0C463415-E65E-4D36-AE1A-90E220568DCE}"/>
    <pc:docChg chg="custSel modSld sldOrd">
      <pc:chgData name="Rui Romano" userId="0c27b0b7-f4ae-42bc-b782-498e154f5576" providerId="ADAL" clId="{0C463415-E65E-4D36-AE1A-90E220568DCE}" dt="2020-05-04T17:40:08.661" v="67" actId="1076"/>
      <pc:docMkLst>
        <pc:docMk/>
      </pc:docMkLst>
      <pc:sldChg chg="modSp ord">
        <pc:chgData name="Rui Romano" userId="0c27b0b7-f4ae-42bc-b782-498e154f5576" providerId="ADAL" clId="{0C463415-E65E-4D36-AE1A-90E220568DCE}" dt="2020-05-04T16:51:00.755" v="7" actId="114"/>
        <pc:sldMkLst>
          <pc:docMk/>
          <pc:sldMk cId="2894464176" sldId="2044"/>
        </pc:sldMkLst>
        <pc:spChg chg="mod">
          <ac:chgData name="Rui Romano" userId="0c27b0b7-f4ae-42bc-b782-498e154f5576" providerId="ADAL" clId="{0C463415-E65E-4D36-AE1A-90E220568DCE}" dt="2020-05-04T16:51:00.755" v="7" actId="114"/>
          <ac:spMkLst>
            <pc:docMk/>
            <pc:sldMk cId="2894464176" sldId="2044"/>
            <ac:spMk id="47" creationId="{AAAE1283-EC2B-4B33-8B7B-20F6F6DE98E3}"/>
          </ac:spMkLst>
        </pc:spChg>
      </pc:sldChg>
      <pc:sldChg chg="addSp modSp mod">
        <pc:chgData name="Rui Romano" userId="0c27b0b7-f4ae-42bc-b782-498e154f5576" providerId="ADAL" clId="{0C463415-E65E-4D36-AE1A-90E220568DCE}" dt="2020-05-04T17:40:08.661" v="67" actId="1076"/>
        <pc:sldMkLst>
          <pc:docMk/>
          <pc:sldMk cId="2293881308" sldId="8295"/>
        </pc:sldMkLst>
        <pc:spChg chg="add mod">
          <ac:chgData name="Rui Romano" userId="0c27b0b7-f4ae-42bc-b782-498e154f5576" providerId="ADAL" clId="{0C463415-E65E-4D36-AE1A-90E220568DCE}" dt="2020-05-04T17:40:08.661" v="67" actId="1076"/>
          <ac:spMkLst>
            <pc:docMk/>
            <pc:sldMk cId="2293881308" sldId="8295"/>
            <ac:spMk id="21" creationId="{4CF1DCB2-E283-4671-83F3-C86608BB5E3F}"/>
          </ac:spMkLst>
        </pc:spChg>
      </pc:sldChg>
      <pc:sldChg chg="addSp modSp mod">
        <pc:chgData name="Rui Romano" userId="0c27b0b7-f4ae-42bc-b782-498e154f5576" providerId="ADAL" clId="{0C463415-E65E-4D36-AE1A-90E220568DCE}" dt="2020-05-04T16:58:55.730" v="51" actId="20577"/>
        <pc:sldMkLst>
          <pc:docMk/>
          <pc:sldMk cId="2992468494" sldId="8313"/>
        </pc:sldMkLst>
        <pc:spChg chg="add mod">
          <ac:chgData name="Rui Romano" userId="0c27b0b7-f4ae-42bc-b782-498e154f5576" providerId="ADAL" clId="{0C463415-E65E-4D36-AE1A-90E220568DCE}" dt="2020-05-04T16:58:55.730" v="51" actId="20577"/>
          <ac:spMkLst>
            <pc:docMk/>
            <pc:sldMk cId="2992468494" sldId="8313"/>
            <ac:spMk id="23" creationId="{7AD2EA3B-0F22-408F-A664-0C5F446041A1}"/>
          </ac:spMkLst>
        </pc:spChg>
        <pc:cxnChg chg="add mod">
          <ac:chgData name="Rui Romano" userId="0c27b0b7-f4ae-42bc-b782-498e154f5576" providerId="ADAL" clId="{0C463415-E65E-4D36-AE1A-90E220568DCE}" dt="2020-05-04T16:58:33.420" v="10" actId="14100"/>
          <ac:cxnSpMkLst>
            <pc:docMk/>
            <pc:sldMk cId="2992468494" sldId="8313"/>
            <ac:cxnSpMk id="20" creationId="{BE3121D6-04DE-4C2C-B5C8-84ED89333045}"/>
          </ac:cxnSpMkLst>
        </pc:cxnChg>
      </pc:sldChg>
    </pc:docChg>
  </pc:docChgLst>
  <pc:docChgLst>
    <pc:chgData name="Sandro Pereira" userId="cff2b4a5-ede0-4697-b222-bd5848234653" providerId="ADAL" clId="{DF50A666-5201-495E-A93E-B705F660D1D0}"/>
    <pc:docChg chg="undo custSel mod addSld delSld modSld">
      <pc:chgData name="Sandro Pereira" userId="cff2b4a5-ede0-4697-b222-bd5848234653" providerId="ADAL" clId="{DF50A666-5201-495E-A93E-B705F660D1D0}" dt="2020-05-04T14:02:06.861" v="64"/>
      <pc:docMkLst>
        <pc:docMk/>
      </pc:docMkLst>
      <pc:sldChg chg="modTransition">
        <pc:chgData name="Sandro Pereira" userId="cff2b4a5-ede0-4697-b222-bd5848234653" providerId="ADAL" clId="{DF50A666-5201-495E-A93E-B705F660D1D0}" dt="2020-05-04T14:02:06.861" v="64"/>
        <pc:sldMkLst>
          <pc:docMk/>
          <pc:sldMk cId="1446173172" sldId="844"/>
        </pc:sldMkLst>
      </pc:sldChg>
      <pc:sldChg chg="del">
        <pc:chgData name="Sandro Pereira" userId="cff2b4a5-ede0-4697-b222-bd5848234653" providerId="ADAL" clId="{DF50A666-5201-495E-A93E-B705F660D1D0}" dt="2020-05-03T21:48:23.942" v="1" actId="47"/>
        <pc:sldMkLst>
          <pc:docMk/>
          <pc:sldMk cId="1068003812" sldId="8278"/>
        </pc:sldMkLst>
      </pc:sldChg>
      <pc:sldChg chg="del">
        <pc:chgData name="Sandro Pereira" userId="cff2b4a5-ede0-4697-b222-bd5848234653" providerId="ADAL" clId="{DF50A666-5201-495E-A93E-B705F660D1D0}" dt="2020-05-03T21:48:26.462" v="2" actId="2696"/>
        <pc:sldMkLst>
          <pc:docMk/>
          <pc:sldMk cId="716061117" sldId="8279"/>
        </pc:sldMkLst>
      </pc:sldChg>
      <pc:sldChg chg="add">
        <pc:chgData name="Sandro Pereira" userId="cff2b4a5-ede0-4697-b222-bd5848234653" providerId="ADAL" clId="{DF50A666-5201-495E-A93E-B705F660D1D0}" dt="2020-05-03T21:48:29.555" v="3"/>
        <pc:sldMkLst>
          <pc:docMk/>
          <pc:sldMk cId="1648985867" sldId="8279"/>
        </pc:sldMkLst>
      </pc:sldChg>
      <pc:sldChg chg="del">
        <pc:chgData name="Sandro Pereira" userId="cff2b4a5-ede0-4697-b222-bd5848234653" providerId="ADAL" clId="{DF50A666-5201-495E-A93E-B705F660D1D0}" dt="2020-05-03T21:48:23.942" v="1" actId="47"/>
        <pc:sldMkLst>
          <pc:docMk/>
          <pc:sldMk cId="4139179957" sldId="8293"/>
        </pc:sldMkLst>
      </pc:sldChg>
      <pc:sldChg chg="add">
        <pc:chgData name="Sandro Pereira" userId="cff2b4a5-ede0-4697-b222-bd5848234653" providerId="ADAL" clId="{DF50A666-5201-495E-A93E-B705F660D1D0}" dt="2020-05-03T21:48:14.165" v="0"/>
        <pc:sldMkLst>
          <pc:docMk/>
          <pc:sldMk cId="1876453793" sldId="8314"/>
        </pc:sldMkLst>
      </pc:sldChg>
      <pc:sldChg chg="add">
        <pc:chgData name="Sandro Pereira" userId="cff2b4a5-ede0-4697-b222-bd5848234653" providerId="ADAL" clId="{DF50A666-5201-495E-A93E-B705F660D1D0}" dt="2020-05-03T21:48:14.165" v="0"/>
        <pc:sldMkLst>
          <pc:docMk/>
          <pc:sldMk cId="890182715" sldId="8315"/>
        </pc:sldMkLst>
      </pc:sldChg>
      <pc:sldChg chg="addSp delSp modSp new mod modTransition chgLayout">
        <pc:chgData name="Sandro Pereira" userId="cff2b4a5-ede0-4697-b222-bd5848234653" providerId="ADAL" clId="{DF50A666-5201-495E-A93E-B705F660D1D0}" dt="2020-05-04T14:01:41.185" v="62"/>
        <pc:sldMkLst>
          <pc:docMk/>
          <pc:sldMk cId="2937093091" sldId="8316"/>
        </pc:sldMkLst>
        <pc:spChg chg="del">
          <ac:chgData name="Sandro Pereira" userId="cff2b4a5-ede0-4697-b222-bd5848234653" providerId="ADAL" clId="{DF50A666-5201-495E-A93E-B705F660D1D0}" dt="2020-05-04T13:55:35.017" v="5"/>
          <ac:spMkLst>
            <pc:docMk/>
            <pc:sldMk cId="2937093091" sldId="8316"/>
            <ac:spMk id="2" creationId="{40C702E1-E163-4F29-8688-D5DC326ABDA9}"/>
          </ac:spMkLst>
        </pc:spChg>
        <pc:spChg chg="add del mod">
          <ac:chgData name="Sandro Pereira" userId="cff2b4a5-ede0-4697-b222-bd5848234653" providerId="ADAL" clId="{DF50A666-5201-495E-A93E-B705F660D1D0}" dt="2020-05-04T13:55:38.238" v="6" actId="478"/>
          <ac:spMkLst>
            <pc:docMk/>
            <pc:sldMk cId="2937093091" sldId="8316"/>
            <ac:spMk id="3" creationId="{9B0A8CCC-7FF4-4C30-8BF5-8059EF9DEA84}"/>
          </ac:spMkLst>
        </pc:spChg>
        <pc:spChg chg="add del mod">
          <ac:chgData name="Sandro Pereira" userId="cff2b4a5-ede0-4697-b222-bd5848234653" providerId="ADAL" clId="{DF50A666-5201-495E-A93E-B705F660D1D0}" dt="2020-05-04T13:55:38.238" v="6" actId="478"/>
          <ac:spMkLst>
            <pc:docMk/>
            <pc:sldMk cId="2937093091" sldId="8316"/>
            <ac:spMk id="4" creationId="{FC4BF1EA-0BC3-4053-9D59-6B76153E1949}"/>
          </ac:spMkLst>
        </pc:spChg>
        <pc:picChg chg="add mod">
          <ac:chgData name="Sandro Pereira" userId="cff2b4a5-ede0-4697-b222-bd5848234653" providerId="ADAL" clId="{DF50A666-5201-495E-A93E-B705F660D1D0}" dt="2020-05-04T13:59:42.572" v="46" actId="1076"/>
          <ac:picMkLst>
            <pc:docMk/>
            <pc:sldMk cId="2937093091" sldId="8316"/>
            <ac:picMk id="6" creationId="{F9B57CD1-7636-4684-9D75-D066606F33DC}"/>
          </ac:picMkLst>
        </pc:picChg>
        <pc:picChg chg="add mod">
          <ac:chgData name="Sandro Pereira" userId="cff2b4a5-ede0-4697-b222-bd5848234653" providerId="ADAL" clId="{DF50A666-5201-495E-A93E-B705F660D1D0}" dt="2020-05-04T13:59:29.014" v="43" actId="14100"/>
          <ac:picMkLst>
            <pc:docMk/>
            <pc:sldMk cId="2937093091" sldId="8316"/>
            <ac:picMk id="7" creationId="{B4F3638A-F29E-4AF3-A62A-9AA03BF6904E}"/>
          </ac:picMkLst>
        </pc:picChg>
        <pc:picChg chg="add mod">
          <ac:chgData name="Sandro Pereira" userId="cff2b4a5-ede0-4697-b222-bd5848234653" providerId="ADAL" clId="{DF50A666-5201-495E-A93E-B705F660D1D0}" dt="2020-05-04T14:00:00.291" v="56" actId="1037"/>
          <ac:picMkLst>
            <pc:docMk/>
            <pc:sldMk cId="2937093091" sldId="8316"/>
            <ac:picMk id="8" creationId="{BB83B9B9-9A5D-4B44-87A1-ED5860D2AE21}"/>
          </ac:picMkLst>
        </pc:picChg>
        <pc:picChg chg="add mod">
          <ac:chgData name="Sandro Pereira" userId="cff2b4a5-ede0-4697-b222-bd5848234653" providerId="ADAL" clId="{DF50A666-5201-495E-A93E-B705F660D1D0}" dt="2020-05-04T13:55:47.645" v="8" actId="26606"/>
          <ac:picMkLst>
            <pc:docMk/>
            <pc:sldMk cId="2937093091" sldId="8316"/>
            <ac:picMk id="2050" creationId="{C65B8195-F4E9-4C5F-A765-42DEE128BF62}"/>
          </ac:picMkLst>
        </pc:picChg>
      </pc:sldChg>
      <pc:sldChg chg="addSp delSp modSp new del mod modTransition">
        <pc:chgData name="Sandro Pereira" userId="cff2b4a5-ede0-4697-b222-bd5848234653" providerId="ADAL" clId="{DF50A666-5201-495E-A93E-B705F660D1D0}" dt="2020-05-04T13:58:36.063" v="31" actId="2696"/>
        <pc:sldMkLst>
          <pc:docMk/>
          <pc:sldMk cId="3584091155" sldId="8317"/>
        </pc:sldMkLst>
        <pc:spChg chg="del">
          <ac:chgData name="Sandro Pereira" userId="cff2b4a5-ede0-4697-b222-bd5848234653" providerId="ADAL" clId="{DF50A666-5201-495E-A93E-B705F660D1D0}" dt="2020-05-04T13:56:02.858" v="10"/>
          <ac:spMkLst>
            <pc:docMk/>
            <pc:sldMk cId="3584091155" sldId="8317"/>
            <ac:spMk id="2" creationId="{7CE48068-844F-4535-BB1B-FCA1C0CAF273}"/>
          </ac:spMkLst>
        </pc:spChg>
        <pc:spChg chg="del">
          <ac:chgData name="Sandro Pereira" userId="cff2b4a5-ede0-4697-b222-bd5848234653" providerId="ADAL" clId="{DF50A666-5201-495E-A93E-B705F660D1D0}" dt="2020-05-04T13:56:02.858" v="10"/>
          <ac:spMkLst>
            <pc:docMk/>
            <pc:sldMk cId="3584091155" sldId="8317"/>
            <ac:spMk id="3" creationId="{C38C26AF-47B7-47E4-B0CE-FCD27C8F3A84}"/>
          </ac:spMkLst>
        </pc:spChg>
        <pc:spChg chg="add del mod">
          <ac:chgData name="Sandro Pereira" userId="cff2b4a5-ede0-4697-b222-bd5848234653" providerId="ADAL" clId="{DF50A666-5201-495E-A93E-B705F660D1D0}" dt="2020-05-04T13:56:09.841" v="11" actId="478"/>
          <ac:spMkLst>
            <pc:docMk/>
            <pc:sldMk cId="3584091155" sldId="8317"/>
            <ac:spMk id="4" creationId="{F440AAE8-366E-44BA-B44C-8634E9B4050C}"/>
          </ac:spMkLst>
        </pc:spChg>
        <pc:spChg chg="add del mod">
          <ac:chgData name="Sandro Pereira" userId="cff2b4a5-ede0-4697-b222-bd5848234653" providerId="ADAL" clId="{DF50A666-5201-495E-A93E-B705F660D1D0}" dt="2020-05-04T13:56:09.841" v="11" actId="478"/>
          <ac:spMkLst>
            <pc:docMk/>
            <pc:sldMk cId="3584091155" sldId="8317"/>
            <ac:spMk id="5" creationId="{EBA68F54-966A-430C-B076-8FDEE853EBB3}"/>
          </ac:spMkLst>
        </pc:spChg>
        <pc:picChg chg="add mod">
          <ac:chgData name="Sandro Pereira" userId="cff2b4a5-ede0-4697-b222-bd5848234653" providerId="ADAL" clId="{DF50A666-5201-495E-A93E-B705F660D1D0}" dt="2020-05-04T13:56:13.102" v="14" actId="1076"/>
          <ac:picMkLst>
            <pc:docMk/>
            <pc:sldMk cId="3584091155" sldId="8317"/>
            <ac:picMk id="6" creationId="{B9581A0D-C382-4ADB-A9DF-D9D46AA07A33}"/>
          </ac:picMkLst>
        </pc:picChg>
        <pc:picChg chg="add del mod modCrop">
          <ac:chgData name="Sandro Pereira" userId="cff2b4a5-ede0-4697-b222-bd5848234653" providerId="ADAL" clId="{DF50A666-5201-495E-A93E-B705F660D1D0}" dt="2020-05-04T13:56:28.665" v="18"/>
          <ac:picMkLst>
            <pc:docMk/>
            <pc:sldMk cId="3584091155" sldId="8317"/>
            <ac:picMk id="7" creationId="{BC6B74F2-F4F5-4771-A47C-C96BFC68FDE5}"/>
          </ac:picMkLst>
        </pc:picChg>
        <pc:picChg chg="add mod modCrop">
          <ac:chgData name="Sandro Pereira" userId="cff2b4a5-ede0-4697-b222-bd5848234653" providerId="ADAL" clId="{DF50A666-5201-495E-A93E-B705F660D1D0}" dt="2020-05-04T13:56:42.245" v="22" actId="14100"/>
          <ac:picMkLst>
            <pc:docMk/>
            <pc:sldMk cId="3584091155" sldId="8317"/>
            <ac:picMk id="8" creationId="{65F203EB-9776-4B48-B0FC-A2E14A1C9D0D}"/>
          </ac:picMkLst>
        </pc:picChg>
        <pc:picChg chg="add mod modCrop">
          <ac:chgData name="Sandro Pereira" userId="cff2b4a5-ede0-4697-b222-bd5848234653" providerId="ADAL" clId="{DF50A666-5201-495E-A93E-B705F660D1D0}" dt="2020-05-04T13:57:07.777" v="30" actId="14100"/>
          <ac:picMkLst>
            <pc:docMk/>
            <pc:sldMk cId="3584091155" sldId="8317"/>
            <ac:picMk id="9" creationId="{5A776FA8-795D-4F4F-99E7-03C18F58ED4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C970DB-8EE6-4E5B-9CBE-4CA39D1A6EC2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355828-8ECA-4525-A47E-5E299A14B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801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0F12AD-DFBA-4DC5-8F57-A825D0ABB117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600DC0-41EA-43F8-ADC8-CB248AF93B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993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00DC0-41EA-43F8-ADC8-CB248AF93BF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500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Interested</a:t>
            </a:r>
            <a:r>
              <a:rPr lang="en-AU" baseline="0"/>
              <a:t> in all things integration – which of course includes MS Flow</a:t>
            </a: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EAA6EF-DB09-4CA7-BC75-64D0E0DADFC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775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png"/><Relationship Id="rId4" Type="http://schemas.openxmlformats.org/officeDocument/2006/relationships/hyperlink" Target="http://www.devscope.net/" TargetMode="Externa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09840" y="1946348"/>
            <a:ext cx="5359627" cy="146324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5294" b="1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Logo" descr="logo"/>
          <p:cNvPicPr>
            <a:picLocks noChangeAspect="1" noChangeArrowheads="1"/>
          </p:cNvPicPr>
          <p:nvPr userDrawn="1"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4310" y="226587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8310810" y="746105"/>
            <a:ext cx="1997272" cy="452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n-US" sz="2353" b="1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rPr>
              <a:t>2019 - Madri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09840" y="3423430"/>
            <a:ext cx="5359627" cy="948433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8610" name="Picture 2">
            <a:extLst>
              <a:ext uri="{FF2B5EF4-FFF2-40B4-BE49-F238E27FC236}">
                <a16:creationId xmlns:a16="http://schemas.microsoft.com/office/drawing/2014/main" id="{64D42137-52D9-42F3-BF1A-3AE283A2F9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3443"/>
            <a:ext cx="12192000" cy="571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010EB31-EED0-4227-A7C2-A92DF3C9A8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5031339"/>
            <a:ext cx="12191999" cy="1015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1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www.globalintegrationbootcamp.com/wp-content/uploads/2016/12/cloud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7" y="-30522"/>
            <a:ext cx="121888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Logo" descr="logo"/>
          <p:cNvPicPr>
            <a:picLocks noChangeAspect="1" noChangeArrowheads="1"/>
          </p:cNvPicPr>
          <p:nvPr userDrawn="1"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4799" y="251888"/>
            <a:ext cx="4127200" cy="412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6432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18247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93577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182497"/>
            <a:ext cx="12192000" cy="675503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Logo" descr="logo"/>
          <p:cNvPicPr>
            <a:picLocks noChangeAspect="1" noChangeArrowheads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1727" y="196184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4780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1824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solidFill>
                <a:srgbClr val="FF8C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93578"/>
            <a:ext cx="11653523" cy="1176900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182497"/>
            <a:ext cx="12192000" cy="675503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Logo" descr="logo"/>
          <p:cNvPicPr>
            <a:picLocks noChangeAspect="1" noChangeArrowheads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1727" y="196184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538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611830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9239" y="2793577"/>
            <a:ext cx="11653523" cy="1158793"/>
          </a:xfrm>
        </p:spPr>
        <p:txBody>
          <a:bodyPr/>
          <a:lstStyle>
            <a:lvl1pPr>
              <a:defRPr sz="7058"/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962643"/>
            <a:ext cx="12192000" cy="887311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Logo" descr="logo"/>
          <p:cNvPicPr>
            <a:picLocks noChangeAspect="1" noChangeArrowheads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1727" y="196184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39" y="6253099"/>
            <a:ext cx="1553034" cy="3316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7790219" y="6166010"/>
            <a:ext cx="2652014" cy="61560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s-ES" sz="2353" b="0">
                <a:solidFill>
                  <a:schemeClr val="bg1">
                    <a:lumMod val="95000"/>
                    <a:lumOff val="5000"/>
                  </a:schemeClr>
                </a:solidFill>
              </a:rPr>
              <a:t>Sponsor</a:t>
            </a:r>
            <a:r>
              <a:rPr lang="es-ES" sz="2353">
                <a:solidFill>
                  <a:srgbClr val="697F94"/>
                </a:solidFill>
              </a:rPr>
              <a:t> </a:t>
            </a:r>
            <a:r>
              <a:rPr lang="es-ES" sz="2353" err="1">
                <a:solidFill>
                  <a:srgbClr val="697F94"/>
                </a:solidFill>
              </a:rPr>
              <a:t>Silver</a:t>
            </a:r>
            <a:r>
              <a:rPr lang="es-ES" sz="2353">
                <a:solidFill>
                  <a:srgbClr val="697F94"/>
                </a:solidFill>
              </a:rPr>
              <a:t>: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92" y="6196332"/>
            <a:ext cx="1775791" cy="419932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3498485" y="6144822"/>
            <a:ext cx="2258959" cy="61560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s-ES" sz="2353">
                <a:solidFill>
                  <a:schemeClr val="bg1">
                    <a:lumMod val="95000"/>
                    <a:lumOff val="5000"/>
                  </a:schemeClr>
                </a:solidFill>
              </a:rPr>
              <a:t>Sponsor </a:t>
            </a:r>
            <a:r>
              <a:rPr lang="es-ES" sz="2353">
                <a:solidFill>
                  <a:srgbClr val="FFB900"/>
                </a:solidFill>
              </a:rPr>
              <a:t>Gold</a:t>
            </a:r>
            <a:r>
              <a:rPr lang="es-ES" sz="2353">
                <a:solidFill>
                  <a:srgbClr val="697F94"/>
                </a:solidFill>
              </a:rPr>
              <a:t>: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653" y="6065981"/>
            <a:ext cx="1731049" cy="63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21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itting in a chair using a computer&#10;&#10;Description generated with very high confidence">
            <a:extLst>
              <a:ext uri="{FF2B5EF4-FFF2-40B4-BE49-F238E27FC236}">
                <a16:creationId xmlns:a16="http://schemas.microsoft.com/office/drawing/2014/main" id="{9BAE192A-C5EF-4271-BBAF-90FB3C55F4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3508" y="0"/>
            <a:ext cx="1220550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4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3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7" y="4838790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7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16856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3"/>
            <a:ext cx="627341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89094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269238" y="2084172"/>
            <a:ext cx="8964248" cy="358620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5833">
                      <a:schemeClr val="bg1"/>
                    </a:gs>
                    <a:gs pos="1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69303" y="3878574"/>
            <a:ext cx="896418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78137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3"/>
            <a:ext cx="627341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757348" y="6196319"/>
            <a:ext cx="986066" cy="19126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3775503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219223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304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4" y="2082443"/>
            <a:ext cx="7172954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4" y="3877257"/>
            <a:ext cx="7172954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8214" y="6182036"/>
            <a:ext cx="986066" cy="19126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195256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4716681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15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218149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304" y="1187644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45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410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50" y="6164664"/>
            <a:ext cx="986066" cy="191269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auto">
          <a:xfrm>
            <a:off x="451549" y="487593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80720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" y="0"/>
            <a:ext cx="12191564" cy="6860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57348" y="6196665"/>
            <a:ext cx="986066" cy="19126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69304" y="1187620"/>
            <a:ext cx="7171399" cy="448276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Monitor and Manage using BizTalk360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err="1"/>
              <a:t>Saravana</a:t>
            </a:r>
            <a:r>
              <a:rPr lang="en-US"/>
              <a:t> Kumar</a:t>
            </a:r>
          </a:p>
          <a:p>
            <a:pPr lvl="0"/>
            <a:r>
              <a:rPr lang="en-US"/>
              <a:t>Founder/CTO, Microsoft Integration MVP</a:t>
            </a:r>
          </a:p>
        </p:txBody>
      </p:sp>
      <p:pic>
        <p:nvPicPr>
          <p:cNvPr id="9" name="Picture 2" descr="C:\Users\spereira\Desktop\Imagem DevScope\devscope-with-signature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01" y="4789686"/>
            <a:ext cx="2510088" cy="8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764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" y="2"/>
            <a:ext cx="12182535" cy="68579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53450" y="6164664"/>
            <a:ext cx="986066" cy="19126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gray">
          <a:xfrm>
            <a:off x="269304" y="2084147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4" y="2082443"/>
            <a:ext cx="7171399" cy="1794808"/>
          </a:xfrm>
          <a:noFill/>
        </p:spPr>
        <p:txBody>
          <a:bodyPr lIns="146304" tIns="91440" rIns="146304" bIns="91440" anchor="t" anchorCtr="0"/>
          <a:lstStyle>
            <a:lvl1pPr>
              <a:defRPr sz="5294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9304" y="3877257"/>
            <a:ext cx="7171399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448215" y="470068"/>
            <a:ext cx="2599604" cy="537925"/>
          </a:xfrm>
          <a:prstGeom prst="rect">
            <a:avLst/>
          </a:prstGeom>
          <a:noFill/>
          <a:ln w="25400" cap="sq">
            <a:solidFill>
              <a:srgbClr val="0072C6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0072C6"/>
                    </a:gs>
                    <a:gs pos="1500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28141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0"/>
            <a:ext cx="12192000" cy="68557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0168" y="6164664"/>
            <a:ext cx="986066" cy="19126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269304" y="1187621"/>
            <a:ext cx="7171399" cy="3586208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41" y="1187620"/>
            <a:ext cx="7171399" cy="1793108"/>
          </a:xfrm>
          <a:noFill/>
        </p:spPr>
        <p:txBody>
          <a:bodyPr lIns="146304" tIns="91440" rIns="146304" bIns="91440" anchor="t" anchorCtr="0"/>
          <a:lstStyle>
            <a:lvl1pPr>
              <a:defRPr sz="5882" spc="-99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304" y="2971385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448586" y="470068"/>
            <a:ext cx="2599604" cy="537925"/>
          </a:xfrm>
          <a:prstGeom prst="rect">
            <a:avLst/>
          </a:prstGeom>
          <a:noFill/>
          <a:ln w="25400" cap="sq">
            <a:solidFill>
              <a:srgbClr val="FFFFFF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6" b="0" i="0" u="none" strike="noStrike" kern="1200" cap="none" spc="0" normalizeH="0" baseline="0" noProof="0">
                <a:ln>
                  <a:noFill/>
                </a:ln>
                <a:gradFill>
                  <a:gsLst>
                    <a:gs pos="5833">
                      <a:srgbClr val="FFFFFF"/>
                    </a:gs>
                    <a:gs pos="15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 goes here</a:t>
            </a:r>
          </a:p>
        </p:txBody>
      </p:sp>
    </p:spTree>
    <p:extLst>
      <p:ext uri="{BB962C8B-B14F-4D97-AF65-F5344CB8AC3E}">
        <p14:creationId xmlns:p14="http://schemas.microsoft.com/office/powerpoint/2010/main" val="273144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8"/>
            <a:ext cx="9860675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185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8"/>
            <a:ext cx="9860675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61182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1150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7" spc="-99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640560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38434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73126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4710910"/>
          </a:xfrm>
        </p:spPr>
        <p:txBody>
          <a:bodyPr>
            <a:no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6557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4329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0509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9" indent="0">
              <a:buNone/>
              <a:defRPr/>
            </a:lvl3pPr>
            <a:lvl4pPr marL="448119" indent="0">
              <a:buNone/>
              <a:defRPr/>
            </a:lvl4pPr>
            <a:lvl5pPr marL="6721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268798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0509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9" indent="0">
              <a:buNone/>
              <a:defRPr/>
            </a:lvl3pPr>
            <a:lvl4pPr marL="448119" indent="0">
              <a:buNone/>
              <a:defRPr/>
            </a:lvl4pPr>
            <a:lvl5pPr marL="6721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57350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17332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430284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1733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875866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771078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6"/>
            <a:ext cx="5378548" cy="248563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171" indent="0">
              <a:buNone/>
              <a:tabLst/>
              <a:defRPr sz="1961"/>
            </a:lvl3pPr>
            <a:lvl4pPr marL="451231" indent="0">
              <a:buNone/>
              <a:defRPr/>
            </a:lvl4pPr>
            <a:lvl5pPr marL="67217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186366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91605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6" y="1189177"/>
            <a:ext cx="5378548" cy="2551980"/>
          </a:xfrm>
        </p:spPr>
        <p:txBody>
          <a:bodyPr wrap="square">
            <a:spAutoFit/>
          </a:bodyPr>
          <a:lstStyle>
            <a:lvl1pPr marL="281630" indent="-281630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16" indent="-228563">
              <a:defRPr sz="2353"/>
            </a:lvl2pPr>
            <a:lvl3pPr marL="685688" indent="-165074">
              <a:tabLst/>
              <a:defRPr sz="1961"/>
            </a:lvl3pPr>
            <a:lvl4pPr marL="863458" indent="-177772">
              <a:defRPr/>
            </a:lvl4pPr>
            <a:lvl5pPr marL="1028532" indent="-1650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877555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0364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4710911"/>
          </a:xfrm>
        </p:spPr>
        <p:txBody>
          <a:bodyPr wrap="square">
            <a:no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4710911"/>
          </a:xfrm>
        </p:spPr>
        <p:txBody>
          <a:bodyPr wrap="square">
            <a:no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839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69163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583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rgbClr val="9B9B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5789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392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6" tIns="45716" rIns="45716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9" fontAlgn="base">
              <a:spcBef>
                <a:spcPct val="0"/>
              </a:spcBef>
              <a:spcAft>
                <a:spcPct val="0"/>
              </a:spcAft>
            </a:pPr>
            <a:endParaRPr lang="en-US" sz="176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4"/>
            <a:ext cx="11653523" cy="202226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7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8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1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842458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461101"/>
          </a:xfrm>
          <a:prstGeom prst="rect">
            <a:avLst/>
          </a:prstGeom>
        </p:spPr>
        <p:txBody>
          <a:bodyPr/>
          <a:lstStyle>
            <a:lvl1pPr marL="284743" indent="-284743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47" indent="-275407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89" indent="-284743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49" indent="-224059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009" indent="-224059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7"/>
            <a:ext cx="12192001" cy="619126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37379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4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28882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8430105-5005-483F-954B-3C6569C100ED}"/>
              </a:ext>
            </a:extLst>
          </p:cNvPr>
          <p:cNvSpPr/>
          <p:nvPr userDrawn="1"/>
        </p:nvSpPr>
        <p:spPr>
          <a:xfrm>
            <a:off x="8687880" y="1"/>
            <a:ext cx="3502152" cy="6856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777348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855894"/>
            <a:ext cx="6859080" cy="20521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38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F3322F4-6906-834F-ADFB-D300DE139D99}"/>
              </a:ext>
            </a:extLst>
          </p:cNvPr>
          <p:cNvSpPr/>
          <p:nvPr userDrawn="1"/>
        </p:nvSpPr>
        <p:spPr>
          <a:xfrm>
            <a:off x="0" y="6192458"/>
            <a:ext cx="12192000" cy="6662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AD281D-F1C8-4A42-B8C3-88D1344E6E8A}"/>
              </a:ext>
            </a:extLst>
          </p:cNvPr>
          <p:cNvSpPr/>
          <p:nvPr userDrawn="1"/>
        </p:nvSpPr>
        <p:spPr>
          <a:xfrm flipV="1">
            <a:off x="0" y="978525"/>
            <a:ext cx="12192000" cy="521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FB96282-7A4B-0249-B683-08519B3C2E8B}"/>
              </a:ext>
            </a:extLst>
          </p:cNvPr>
          <p:cNvSpPr/>
          <p:nvPr userDrawn="1"/>
        </p:nvSpPr>
        <p:spPr>
          <a:xfrm>
            <a:off x="0" y="2"/>
            <a:ext cx="12192000" cy="9785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05936" y="2093748"/>
            <a:ext cx="10380133" cy="435825"/>
          </a:xfrm>
        </p:spPr>
        <p:txBody>
          <a:bodyPr/>
          <a:lstStyle>
            <a:lvl1pPr marL="0" indent="0">
              <a:spcBef>
                <a:spcPts val="588"/>
              </a:spcBef>
              <a:buNone/>
              <a:defRPr sz="1961" b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  <a:lvl2pPr marL="569030" marR="0" indent="-457025" algn="l" defTabSz="54398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+mj-lt"/>
              <a:buAutoNum type="arabicPeriod"/>
              <a:tabLst/>
              <a:defRPr sz="1600" b="0" i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087975" indent="0">
              <a:buNone/>
              <a:defRPr>
                <a:solidFill>
                  <a:schemeClr val="accent4"/>
                </a:solidFill>
              </a:defRPr>
            </a:lvl3pPr>
            <a:lvl4pPr marL="1631962" indent="0">
              <a:buNone/>
              <a:defRPr>
                <a:solidFill>
                  <a:schemeClr val="accent4"/>
                </a:solidFill>
              </a:defRPr>
            </a:lvl4pPr>
            <a:lvl5pPr marL="2175949" indent="0">
              <a:buNone/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marL="569030" marR="0" lvl="1" indent="-457025" algn="l" defTabSz="543987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z="800" b="0" i="0">
                <a:solidFill>
                  <a:schemeClr val="accent5"/>
                </a:solidFill>
                <a:latin typeface="Segoe UI Light" panose="020B0502040204020203" pitchFamily="34" charset="0"/>
              </a:defRPr>
            </a:lvl1pPr>
          </a:lstStyle>
          <a:p>
            <a:fld id="{521AF0F0-C340-4F46-922A-5F0F8ED91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55869" y="142832"/>
            <a:ext cx="740833" cy="740833"/>
          </a:xfrm>
          <a:prstGeom prst="rect">
            <a:avLst/>
          </a:prstGeom>
        </p:spPr>
      </p:pic>
      <p:sp>
        <p:nvSpPr>
          <p:cNvPr id="15" name="Title 15">
            <a:extLst>
              <a:ext uri="{FF2B5EF4-FFF2-40B4-BE49-F238E27FC236}">
                <a16:creationId xmlns:a16="http://schemas.microsoft.com/office/drawing/2014/main" id="{998B0D03-A21B-EC49-AAE7-A954A8393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903" y="8570"/>
            <a:ext cx="10495964" cy="969957"/>
          </a:xfrm>
        </p:spPr>
        <p:txBody>
          <a:bodyPr/>
          <a:lstStyle>
            <a:lvl1pPr>
              <a:defRPr sz="2400" b="1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C71146-AAE6-DE41-8C46-1C9441F29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299" y="1371602"/>
            <a:ext cx="10790767" cy="722147"/>
          </a:xfrm>
        </p:spPr>
        <p:txBody>
          <a:bodyPr lIns="0" tIns="0" rIns="0">
            <a:noAutofit/>
          </a:bodyPr>
          <a:lstStyle>
            <a:lvl1pPr marL="0" indent="0">
              <a:spcBef>
                <a:spcPts val="0"/>
              </a:spcBef>
              <a:spcAft>
                <a:spcPts val="1174"/>
              </a:spcAft>
              <a:buNone/>
              <a:defRPr sz="2200" b="0" i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spcBef>
                <a:spcPts val="588"/>
              </a:spcBef>
              <a:buNone/>
              <a:defRPr sz="2157">
                <a:solidFill>
                  <a:schemeClr val="bg1"/>
                </a:solidFill>
              </a:defRPr>
            </a:lvl2pPr>
            <a:lvl3pPr marL="1087975" indent="0">
              <a:buNone/>
              <a:defRPr/>
            </a:lvl3pPr>
            <a:lvl4pPr marL="1631962" indent="0">
              <a:buNone/>
              <a:defRPr/>
            </a:lvl4pPr>
            <a:lvl5pPr marL="2175949" indent="0">
              <a:buNone/>
              <a:defRPr/>
            </a:lvl5pPr>
          </a:lstStyle>
          <a:p>
            <a:pPr lvl="0"/>
            <a:r>
              <a:rPr lang="en-US"/>
              <a:t>Content text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57DF37C-6CB7-1A49-B619-B3B0BFEA8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7565" y="6356353"/>
            <a:ext cx="8368938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 b="0" i="0">
                <a:solidFill>
                  <a:schemeClr val="accent5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en-US" err="1"/>
              <a:t>Identificação</a:t>
            </a:r>
            <a:r>
              <a:rPr lang="en-US"/>
              <a:t> </a:t>
            </a:r>
            <a:r>
              <a:rPr lang="en-US" err="1"/>
              <a:t>cliente</a:t>
            </a:r>
            <a:r>
              <a:rPr lang="en-US"/>
              <a:t> – Nome do </a:t>
            </a:r>
            <a:r>
              <a:rPr lang="en-US" err="1"/>
              <a:t>projecto</a:t>
            </a:r>
            <a:r>
              <a:rPr lang="en-US"/>
              <a:t> – Data de </a:t>
            </a:r>
            <a:r>
              <a:rPr lang="en-US" err="1"/>
              <a:t>entrega</a:t>
            </a:r>
            <a:r>
              <a:rPr lang="en-US"/>
              <a:t> da </a:t>
            </a:r>
            <a:r>
              <a:rPr lang="en-US" err="1"/>
              <a:t>proposta</a:t>
            </a:r>
            <a:r>
              <a:rPr lang="en-US"/>
              <a:t>  - Nome </a:t>
            </a:r>
            <a:r>
              <a:rPr lang="en-US" err="1"/>
              <a:t>orador</a:t>
            </a:r>
            <a:r>
              <a:rPr lang="en-US"/>
              <a:t> - 2018-03-03</a:t>
            </a:r>
          </a:p>
        </p:txBody>
      </p:sp>
    </p:spTree>
    <p:extLst>
      <p:ext uri="{BB962C8B-B14F-4D97-AF65-F5344CB8AC3E}">
        <p14:creationId xmlns:p14="http://schemas.microsoft.com/office/powerpoint/2010/main" val="32239814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ct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6826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4710911"/>
          </a:xfrm>
        </p:spPr>
        <p:txBody>
          <a:bodyPr wrap="square">
            <a:no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4710911"/>
          </a:xfrm>
        </p:spPr>
        <p:txBody>
          <a:bodyPr wrap="square">
            <a:no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0641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12812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2946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8778514" y="6323702"/>
            <a:ext cx="3413486" cy="53429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1" y="1381528"/>
            <a:ext cx="5787853" cy="3247714"/>
          </a:xfrm>
        </p:spPr>
        <p:txBody>
          <a:bodyPr anchor="ctr"/>
          <a:lstStyle>
            <a:lvl1pPr marL="0" indent="0" algn="ctr">
              <a:buNone/>
              <a:defRPr sz="3137"/>
            </a:lvl1pPr>
          </a:lstStyle>
          <a:p>
            <a:r>
              <a:rPr lang="en-AU"/>
              <a:t>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381527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381527"/>
            <a:ext cx="0" cy="5224584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315820"/>
            <a:ext cx="5378549" cy="3251113"/>
          </a:xfrm>
        </p:spPr>
        <p:txBody>
          <a:bodyPr lIns="36000" tIns="146304" rIns="182880" bIns="146304">
            <a:noAutofit/>
          </a:bodyPr>
          <a:lstStyle>
            <a:lvl1pPr marL="0" indent="0">
              <a:buNone/>
              <a:defRPr sz="2353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9"/>
            <a:ext cx="5826761" cy="1832282"/>
          </a:xfrm>
          <a:solidFill>
            <a:schemeClr val="accent1"/>
          </a:solidFill>
        </p:spPr>
        <p:txBody>
          <a:bodyPr lIns="182880" tIns="146304" rIns="182880" bIns="146304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924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18247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solidFill>
                <a:schemeClr val="tx2">
                  <a:lumMod val="90000"/>
                </a:scheme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581770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621119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6182497"/>
            <a:ext cx="12192000" cy="675503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Logo" descr="logo"/>
          <p:cNvPicPr>
            <a:picLocks noChangeAspect="1" noChangeArrowheads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1727" y="196184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1009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18247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93577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182497"/>
            <a:ext cx="12192000" cy="675503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Logo" descr="logo"/>
          <p:cNvPicPr>
            <a:picLocks noChangeAspect="1" noChangeArrowheads="1"/>
          </p:cNvPicPr>
          <p:nvPr userDrawn="1"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1727" y="196184"/>
            <a:ext cx="5150272" cy="51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4322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8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4710909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2744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accent3">
              <a:lumMod val="75000"/>
            </a:schemeClr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2" cy="211733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323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  <p:sldLayoutId id="2147483708" r:id="rId28"/>
    <p:sldLayoutId id="2147483709" r:id="rId29"/>
    <p:sldLayoutId id="2147483710" r:id="rId30"/>
    <p:sldLayoutId id="2147483711" r:id="rId31"/>
    <p:sldLayoutId id="2147483713" r:id="rId32"/>
    <p:sldLayoutId id="2147483714" r:id="rId33"/>
    <p:sldLayoutId id="2147483715" r:id="rId34"/>
    <p:sldLayoutId id="2147483716" r:id="rId35"/>
  </p:sldLayoutIdLst>
  <p:transition>
    <p:fade/>
  </p:transition>
  <p:txStyles>
    <p:titleStyle>
      <a:lvl1pPr algn="l" defTabSz="914213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9" marR="0" indent="-33608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95" marR="0" indent="-236507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08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66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324" marR="0" indent="-224059" algn="l" defTabSz="9142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88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95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303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0" indent="-228554" algn="l" defTabSz="9142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2pPr>
      <a:lvl3pPr marL="914213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1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428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53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2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748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856" algn="l" defTabSz="914213" rtl="0" eaLnBrk="1" latinLnBrk="0" hangingPunct="1">
        <a:defRPr sz="17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40.emf"/><Relationship Id="rId4" Type="http://schemas.openxmlformats.org/officeDocument/2006/relationships/image" Target="../media/image42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57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2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6" Type="http://schemas.openxmlformats.org/officeDocument/2006/relationships/hyperlink" Target="http://www.biztalk360.com/biztalk-mapping-patterns/" TargetMode="External"/><Relationship Id="rId5" Type="http://schemas.openxmlformats.org/officeDocument/2006/relationships/hyperlink" Target="https://blog.sandro-pereira.com/" TargetMode="External"/><Relationship Id="rId4" Type="http://schemas.openxmlformats.org/officeDocument/2006/relationships/hyperlink" Target="mailto:sandro.pereira@devscope.net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78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hyperlink" Target="https://www.integration-playbook.io/docs/find-orphaned-api-connectors" TargetMode="Externa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23.png"/><Relationship Id="rId4" Type="http://schemas.openxmlformats.org/officeDocument/2006/relationships/image" Target="../media/image8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0.xml"/><Relationship Id="rId4" Type="http://schemas.openxmlformats.org/officeDocument/2006/relationships/hyperlink" Target="https://www.nytimes.com/2020/01/15/magazine/why-did-the-womans-finger-turn-numb-and-blue.htm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image" Target="../media/image34.emf"/><Relationship Id="rId7" Type="http://schemas.openxmlformats.org/officeDocument/2006/relationships/image" Target="../media/image38.em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Relationship Id="rId9" Type="http://schemas.openxmlformats.org/officeDocument/2006/relationships/image" Target="../media/image4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064FDE3-EE18-4E8E-9F41-0F3A95B42E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" b="8"/>
          <a:stretch/>
        </p:blipFill>
        <p:spPr>
          <a:xfrm>
            <a:off x="8390184" y="2090855"/>
            <a:ext cx="1593378" cy="1593378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9CDFD4-EC91-4C99-BD1B-F434F455C1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494" y="4583405"/>
            <a:ext cx="11435317" cy="1463240"/>
          </a:xfrm>
        </p:spPr>
        <p:txBody>
          <a:bodyPr/>
          <a:lstStyle/>
          <a:p>
            <a:r>
              <a:rPr lang="en-US" dirty="0"/>
              <a:t>Logic App: Best Practices, Tips &amp; Tricks</a:t>
            </a:r>
            <a:endParaRPr lang="pt-PT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0152BE-6436-472F-A1B4-600656DC4F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494" y="6060487"/>
            <a:ext cx="5359627" cy="948433"/>
          </a:xfrm>
        </p:spPr>
        <p:txBody>
          <a:bodyPr/>
          <a:lstStyle/>
          <a:p>
            <a:r>
              <a:rPr lang="pt-PT" dirty="0"/>
              <a:t>Sandro Pereira</a:t>
            </a:r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4543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373970-CB98-47EB-87FA-31A46A1D14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41" r="1563"/>
          <a:stretch/>
        </p:blipFill>
        <p:spPr>
          <a:xfrm>
            <a:off x="200024" y="791848"/>
            <a:ext cx="11801475" cy="52743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554A34-8E63-4861-9C25-1070D8A831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1833" y="960020"/>
            <a:ext cx="368081" cy="368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509F577-A886-4B41-844F-91BBE298BD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1414" y="1496692"/>
            <a:ext cx="368500" cy="368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E4C55D-1767-4264-BD50-2F52E82248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1414" y="2006279"/>
            <a:ext cx="368500" cy="368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0ABBB0-A260-428C-BF1A-4797D33B84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3376" y="2523011"/>
            <a:ext cx="368500" cy="368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9763F7B-8F07-48F3-B03B-C560C6767A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4373242"/>
            <a:ext cx="368500" cy="368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E21F6B-3F9B-4B52-A6E1-91EA4EC5AB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5219697"/>
            <a:ext cx="368500" cy="368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A45BC6-3437-4C2F-B831-AB1CDBAF3D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714" y="5752379"/>
            <a:ext cx="368500" cy="368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FA6C34B-7EE1-48BD-8E4F-0ADC8A71A3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4373242"/>
            <a:ext cx="368500" cy="368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F3ADDF-E670-4F19-BBBF-DF015644E2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4908347"/>
            <a:ext cx="368500" cy="368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F38781D-0670-47CB-ACF2-F4919AF51D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8114" y="5424402"/>
            <a:ext cx="368500" cy="368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E0EFDF5-81BB-43BD-8705-ACE47D2CE7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375" y="3926702"/>
            <a:ext cx="370794" cy="33708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1DED242-0224-4C68-99A8-EE253DE8DF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29900" y="3939936"/>
            <a:ext cx="370794" cy="33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89451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wire, table, bird, hanging&#10;&#10;Description automatically generated">
            <a:extLst>
              <a:ext uri="{FF2B5EF4-FFF2-40B4-BE49-F238E27FC236}">
                <a16:creationId xmlns:a16="http://schemas.microsoft.com/office/drawing/2014/main" id="{717DC4E6-DDA3-4C9A-B8C2-E9A4AAC226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0" b="124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10401300" cy="2180042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9" y="2377870"/>
            <a:ext cx="9852662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ow to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renam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tions 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with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dependencie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? It is possible?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2A3C84-E802-4060-A260-BEF8B49D1FA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47180A-C4B1-4814-85F0-531C4DB7B11E}"/>
              </a:ext>
            </a:extLst>
          </p:cNvPr>
          <p:cNvSpPr txBox="1"/>
          <p:nvPr/>
        </p:nvSpPr>
        <p:spPr>
          <a:xfrm>
            <a:off x="659617" y="1547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3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C2C748-EEEA-4145-87C1-B87F1D3D01F6}"/>
              </a:ext>
            </a:extLst>
          </p:cNvPr>
          <p:cNvSpPr/>
          <p:nvPr/>
        </p:nvSpPr>
        <p:spPr>
          <a:xfrm rot="20242148">
            <a:off x="8277242" y="5203994"/>
            <a:ext cx="2703048" cy="8402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You can’t rename actions that 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have dependencies… 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b="1" spc="-102" dirty="0">
                <a:ln w="3175">
                  <a:noFill/>
                </a:ln>
                <a:solidFill>
                  <a:srgbClr val="04326C"/>
                </a:solidFill>
                <a:latin typeface="Segoe UI Light"/>
                <a:cs typeface="Segoe UI" pitchFamily="34" charset="0"/>
              </a:rPr>
              <a:t>directly</a:t>
            </a:r>
            <a:endParaRPr lang="en-US" sz="2000" b="1" spc="-102" dirty="0">
              <a:ln w="3175">
                <a:noFill/>
              </a:ln>
              <a:solidFill>
                <a:srgbClr val="04326C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192013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1C1007-4193-468B-9E98-E461281F9B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50" y="138352"/>
            <a:ext cx="7800000" cy="38380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399B07-2682-40E0-8D1F-EA81E26DF6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3542"/>
            <a:ext cx="12192000" cy="4830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9C338B1-97AA-4A50-86FB-4305CD213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8164" y="3919648"/>
            <a:ext cx="6114286" cy="2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077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>
            <a:extLst>
              <a:ext uri="{FF2B5EF4-FFF2-40B4-BE49-F238E27FC236}">
                <a16:creationId xmlns:a16="http://schemas.microsoft.com/office/drawing/2014/main" id="{FCBAFAAF-4DB3-48D3-B310-06934D3695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950" y="514350"/>
            <a:ext cx="5829300" cy="582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BF0DD0-AEB6-4DE5-BAC6-6E097D4A1E32}"/>
              </a:ext>
            </a:extLst>
          </p:cNvPr>
          <p:cNvSpPr txBox="1">
            <a:spLocks/>
          </p:cNvSpPr>
          <p:nvPr/>
        </p:nvSpPr>
        <p:spPr>
          <a:xfrm>
            <a:off x="269238" y="2303165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dd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mment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412B3A-B416-47FC-B214-56DA72399DD2}"/>
              </a:ext>
            </a:extLst>
          </p:cNvPr>
          <p:cNvSpPr/>
          <p:nvPr/>
        </p:nvSpPr>
        <p:spPr>
          <a:xfrm>
            <a:off x="723900" y="4885035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veryone can read the com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ve yourself and teammats from future frust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very expression should have a commen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FE5DD0B-B372-4DE4-87C1-36DE9BA0C596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73CFFD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FA51AE-8423-4213-983F-56593076AC25}"/>
              </a:ext>
            </a:extLst>
          </p:cNvPr>
          <p:cNvSpPr txBox="1"/>
          <p:nvPr/>
        </p:nvSpPr>
        <p:spPr>
          <a:xfrm>
            <a:off x="5961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4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872268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4887359-8F3E-480D-B74C-5D607B1C0A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25" y="393689"/>
            <a:ext cx="5752381" cy="40190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B59A7E-2696-4F2F-9F9D-957D8BC30E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7429" y="3653279"/>
            <a:ext cx="5742857" cy="26380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E53A12-5A9C-4441-9045-E0F304A65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671624"/>
            <a:ext cx="5714286" cy="22095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CE0B68-0FB5-40BB-A90F-0BD7F4ED0D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747" y="2428375"/>
            <a:ext cx="6912705" cy="421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488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3B0B4D-5D2A-4F72-9B50-078C4D1DCD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114" r="6547"/>
          <a:stretch/>
        </p:blipFill>
        <p:spPr>
          <a:xfrm>
            <a:off x="0" y="970728"/>
            <a:ext cx="7470648" cy="5887272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7169847" y="3166060"/>
            <a:ext cx="4790559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ing 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scopes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B87D00-0AA4-433B-9360-B1146DBC7A91}"/>
              </a:ext>
            </a:extLst>
          </p:cNvPr>
          <p:cNvSpPr txBox="1"/>
          <p:nvPr/>
        </p:nvSpPr>
        <p:spPr>
          <a:xfrm>
            <a:off x="4353372" y="593920"/>
            <a:ext cx="6965575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naging individual actions introduces complex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s group actions together (regions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nage actions as a single unit instead of disparate items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25E87F2-EC58-44AA-B1A1-A272190D4AF8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2237D8-6E01-4232-8F99-36A50B4FEE9A}"/>
              </a:ext>
            </a:extLst>
          </p:cNvPr>
          <p:cNvSpPr txBox="1"/>
          <p:nvPr/>
        </p:nvSpPr>
        <p:spPr>
          <a:xfrm>
            <a:off x="6596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0" b="1" dirty="0">
                <a:solidFill>
                  <a:srgbClr val="FFFFFF"/>
                </a:solidFill>
                <a:latin typeface="Fabrica" pitchFamily="50" charset="0"/>
              </a:rPr>
              <a:t>5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20178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444235-9B59-4C0B-A7C2-43576B7CA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119312"/>
            <a:ext cx="7239000" cy="26193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ADA856D-E87B-4C7B-9C57-D031DB391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400" y="1487487"/>
            <a:ext cx="4038600" cy="50482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321D0C0-226F-4911-8FEC-28FA398A4723}"/>
              </a:ext>
            </a:extLst>
          </p:cNvPr>
          <p:cNvSpPr txBox="1">
            <a:spLocks/>
          </p:cNvSpPr>
          <p:nvPr/>
        </p:nvSpPr>
        <p:spPr>
          <a:xfrm>
            <a:off x="406400" y="194260"/>
            <a:ext cx="73279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… is a </a:t>
            </a: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region</a:t>
            </a:r>
            <a:endParaRPr kumimoji="0" lang="en-US" sz="54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015974-87FB-4A56-8D28-295668E60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401" y="1087688"/>
            <a:ext cx="9690100" cy="562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30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72B9A75-4E94-4950-9D22-46D90915E2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412" y="1327150"/>
            <a:ext cx="6962775" cy="506730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E9DB5640-55B2-46A7-8478-E4A66883A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514" y="1149714"/>
            <a:ext cx="5259135" cy="5708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1D9AB3F-536C-4E6E-9348-8CA2DA299216}"/>
              </a:ext>
            </a:extLst>
          </p:cNvPr>
          <p:cNvSpPr txBox="1">
            <a:spLocks/>
          </p:cNvSpPr>
          <p:nvPr/>
        </p:nvSpPr>
        <p:spPr>
          <a:xfrm>
            <a:off x="406400" y="194260"/>
            <a:ext cx="9118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5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cope… is a </a:t>
            </a:r>
            <a:r>
              <a:rPr lang="pt-PT" dirty="0" err="1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ry-catch-finally</a:t>
            </a:r>
            <a:endParaRPr kumimoji="0" lang="en-US" sz="54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8699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5F5A444E-5FE6-4EE6-B0E7-BB6F26CFE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28625"/>
            <a:ext cx="11430000" cy="600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10B112A-E5FD-4B87-8E35-2C6DAFFB781C}"/>
              </a:ext>
            </a:extLst>
          </p:cNvPr>
          <p:cNvSpPr/>
          <p:nvPr/>
        </p:nvSpPr>
        <p:spPr bwMode="auto">
          <a:xfrm>
            <a:off x="1801906" y="5792945"/>
            <a:ext cx="10150318" cy="95545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9F6586-49D5-4CB8-8DD1-9BDB9B316748}"/>
              </a:ext>
            </a:extLst>
          </p:cNvPr>
          <p:cNvSpPr txBox="1">
            <a:spLocks/>
          </p:cNvSpPr>
          <p:nvPr/>
        </p:nvSpPr>
        <p:spPr>
          <a:xfrm>
            <a:off x="1928488" y="5792945"/>
            <a:ext cx="501916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error </a:t>
            </a: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andling…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FF968F-38AB-4CB9-9B80-D7443C9CE839}"/>
              </a:ext>
            </a:extLst>
          </p:cNvPr>
          <p:cNvSpPr txBox="1">
            <a:spLocks/>
          </p:cNvSpPr>
          <p:nvPr/>
        </p:nvSpPr>
        <p:spPr>
          <a:xfrm>
            <a:off x="5737412" y="5801910"/>
            <a:ext cx="6341393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figure run after setting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688160C-12FB-493D-B924-0A81694724B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31E189-84F7-4EDC-B2A7-A9FA51FFBFE6}"/>
              </a:ext>
            </a:extLst>
          </p:cNvPr>
          <p:cNvSpPr txBox="1"/>
          <p:nvPr/>
        </p:nvSpPr>
        <p:spPr>
          <a:xfrm>
            <a:off x="6342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6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639276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48814F0-0008-4A6D-BCD7-170065BBB4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1" y="114301"/>
            <a:ext cx="4648199" cy="2811320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CAE14BC3-EA21-4976-B19A-E616B6A02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3140075"/>
            <a:ext cx="4648199" cy="1662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F12D7286-98FF-4478-B052-5849C7B48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701" y="3135991"/>
            <a:ext cx="5181600" cy="166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8F951B1A-EBDC-4AD3-8196-F1489FCE7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1" y="4901042"/>
            <a:ext cx="4635499" cy="162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>
            <a:extLst>
              <a:ext uri="{FF2B5EF4-FFF2-40B4-BE49-F238E27FC236}">
                <a16:creationId xmlns:a16="http://schemas.microsoft.com/office/drawing/2014/main" id="{18F444C5-32EB-498F-94FB-D9D0DC7E7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701" y="4925922"/>
            <a:ext cx="5240099" cy="166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71A8F9C3-6DD0-40AB-95E5-561CBAF2E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32" y="814900"/>
            <a:ext cx="5259135" cy="5708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77804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461" y="487"/>
            <a:ext cx="5761539" cy="576153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320" y="6009957"/>
            <a:ext cx="12185365" cy="846178"/>
          </a:xfrm>
          <a:prstGeom prst="rect">
            <a:avLst/>
          </a:prstGeom>
          <a:solidFill>
            <a:srgbClr val="01A1DD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35"/>
            <a:endParaRPr lang="en-AU" sz="2398">
              <a:solidFill>
                <a:srgbClr val="01A1DD"/>
              </a:solidFill>
              <a:latin typeface="Segoe U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18" y="5806866"/>
            <a:ext cx="12185367" cy="863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35"/>
            <a:endParaRPr lang="en-AU" sz="2398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" name="Subtitle 2"/>
          <p:cNvSpPr txBox="1">
            <a:spLocks/>
          </p:cNvSpPr>
          <p:nvPr/>
        </p:nvSpPr>
        <p:spPr>
          <a:xfrm>
            <a:off x="596520" y="1319571"/>
            <a:ext cx="6353270" cy="1973174"/>
          </a:xfrm>
          <a:prstGeom prst="rect">
            <a:avLst/>
          </a:prstGeom>
        </p:spPr>
        <p:txBody>
          <a:bodyPr vert="horz" lIns="121854" tIns="60926" rIns="121854" bIns="60926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778" indent="-342778" defTabSz="914072"/>
            <a:r>
              <a:rPr lang="en-AU" sz="2398" b="1">
                <a:solidFill>
                  <a:prstClr val="black"/>
                </a:solidFill>
              </a:rPr>
              <a:t>Head of Integration @DevScope</a:t>
            </a:r>
          </a:p>
          <a:p>
            <a:pPr marL="342778" indent="-342778" defTabSz="914072"/>
            <a:r>
              <a:rPr lang="en-AU" sz="2398">
                <a:solidFill>
                  <a:prstClr val="black"/>
                </a:solidFill>
                <a:latin typeface="Segoe UI"/>
              </a:rPr>
              <a:t>Microsoft Azure MVP</a:t>
            </a:r>
          </a:p>
          <a:p>
            <a:pPr marL="342778" indent="-342778" defTabSz="914072"/>
            <a:r>
              <a:rPr lang="en-US" sz="2398">
                <a:solidFill>
                  <a:prstClr val="black"/>
                </a:solidFill>
                <a:latin typeface="Segoe UI"/>
                <a:hlinkClick r:id="rId4"/>
              </a:rPr>
              <a:t>sandro.pereira@devscope.net</a:t>
            </a:r>
            <a:r>
              <a:rPr lang="en-US" sz="2398">
                <a:solidFill>
                  <a:prstClr val="black"/>
                </a:solidFill>
                <a:latin typeface="Segoe UI"/>
              </a:rPr>
              <a:t> </a:t>
            </a:r>
          </a:p>
          <a:p>
            <a:pPr marL="342778" indent="-342778" defTabSz="914072"/>
            <a:r>
              <a:rPr lang="en-US" sz="2398" noProof="1">
                <a:solidFill>
                  <a:prstClr val="black"/>
                </a:solidFill>
                <a:latin typeface="Segoe UI"/>
              </a:rPr>
              <a:t>linkedin.com/in/sandropereira</a:t>
            </a:r>
          </a:p>
          <a:p>
            <a:pPr marL="342778" indent="-342778" defTabSz="914072"/>
            <a:r>
              <a:rPr lang="en-US" sz="2398" noProof="1">
                <a:solidFill>
                  <a:prstClr val="black"/>
                </a:solidFill>
                <a:latin typeface="Segoe UI"/>
              </a:rPr>
              <a:t>@sandro_asp </a:t>
            </a:r>
          </a:p>
          <a:p>
            <a:pPr marL="342778" indent="-342778" defTabSz="914072"/>
            <a:r>
              <a:rPr lang="en-US" sz="2398">
                <a:solidFill>
                  <a:prstClr val="black"/>
                </a:solidFill>
                <a:latin typeface="Segoe UI"/>
                <a:hlinkClick r:id="rId5"/>
              </a:rPr>
              <a:t>https://blog.sandro-pereira.com/</a:t>
            </a:r>
            <a:endParaRPr lang="en-US" sz="2398">
              <a:solidFill>
                <a:prstClr val="black"/>
              </a:solidFill>
              <a:latin typeface="Segoe UI"/>
            </a:endParaRPr>
          </a:p>
          <a:p>
            <a:pPr marL="342778" indent="-342778" defTabSz="914072"/>
            <a:r>
              <a:rPr lang="en-US" sz="2398">
                <a:solidFill>
                  <a:prstClr val="black"/>
                </a:solidFill>
                <a:latin typeface="Segoe UI"/>
              </a:rPr>
              <a:t>Public speaker</a:t>
            </a:r>
          </a:p>
          <a:p>
            <a:pPr marL="342778" indent="-342778" defTabSz="914072"/>
            <a:r>
              <a:rPr lang="en-US" sz="2398">
                <a:solidFill>
                  <a:prstClr val="black"/>
                </a:solidFill>
                <a:latin typeface="Segoe UI"/>
              </a:rPr>
              <a:t>Father </a:t>
            </a:r>
          </a:p>
          <a:p>
            <a:pPr marL="342778" indent="-342778" defTabSz="914072"/>
            <a:r>
              <a:rPr lang="en-US" sz="2398">
                <a:solidFill>
                  <a:prstClr val="black"/>
                </a:solidFill>
                <a:latin typeface="Segoe UI"/>
              </a:rPr>
              <a:t>Book author: “</a:t>
            </a:r>
            <a:r>
              <a:rPr lang="en-US" sz="2398">
                <a:solidFill>
                  <a:prstClr val="black"/>
                </a:solidFill>
                <a:latin typeface="Segoe UI"/>
                <a:hlinkClick r:id="rId6"/>
              </a:rPr>
              <a:t>BizTalk Mapping Patterns and Best Practices</a:t>
            </a:r>
            <a:r>
              <a:rPr lang="en-US" sz="2398">
                <a:solidFill>
                  <a:prstClr val="black"/>
                </a:solidFill>
                <a:latin typeface="Segoe UI"/>
              </a:rPr>
              <a:t>”</a:t>
            </a:r>
          </a:p>
          <a:p>
            <a:pPr marL="342778" indent="-342778" defTabSz="914072"/>
            <a:endParaRPr lang="en-US" sz="2398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10" name="Picture 2" descr="http://4.bp.blogspot.com/-OUfCsUCY3B4/VGgJCYMcsGI/AAAAAAAAIuQ/dyBpOE8ZilM/s230/mvp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486" y="5318739"/>
            <a:ext cx="2189559" cy="100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00" y="5820362"/>
            <a:ext cx="2510975" cy="641476"/>
          </a:xfrm>
          <a:prstGeom prst="rect">
            <a:avLst/>
          </a:prstGeom>
        </p:spPr>
      </p:pic>
      <p:sp>
        <p:nvSpPr>
          <p:cNvPr id="11" name="Text Placeholder 30"/>
          <p:cNvSpPr txBox="1">
            <a:spLocks/>
          </p:cNvSpPr>
          <p:nvPr/>
        </p:nvSpPr>
        <p:spPr>
          <a:xfrm>
            <a:off x="3669816" y="5801014"/>
            <a:ext cx="2903003" cy="8216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indent="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4200" marR="0" indent="-2413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8001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7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7300" marR="0" indent="-2286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5040" indent="-233186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213"/>
            <a:r>
              <a:rPr lang="pt-PT" sz="1961" b="1">
                <a:solidFill>
                  <a:sysClr val="windowText" lastClr="000000"/>
                </a:solidFill>
                <a:latin typeface="Segoe UI Light"/>
              </a:rPr>
              <a:t>+351 223 751 350</a:t>
            </a:r>
          </a:p>
          <a:p>
            <a:pPr defTabSz="914213"/>
            <a:r>
              <a:rPr lang="pt-PT" sz="1961" b="1">
                <a:solidFill>
                  <a:sysClr val="windowText" lastClr="000000"/>
                </a:solidFill>
                <a:latin typeface="Segoe UI Light"/>
              </a:rPr>
              <a:t>www.devscope.ne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4889C3-D392-4C15-B45D-B6971A95D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32" y="53330"/>
            <a:ext cx="6381544" cy="1080207"/>
          </a:xfrm>
        </p:spPr>
        <p:txBody>
          <a:bodyPr/>
          <a:lstStyle/>
          <a:p>
            <a:r>
              <a:rPr lang="pt-PT" sz="6466"/>
              <a:t>Sandro Pereira</a:t>
            </a:r>
          </a:p>
        </p:txBody>
      </p:sp>
    </p:spTree>
    <p:extLst>
      <p:ext uri="{BB962C8B-B14F-4D97-AF65-F5344CB8AC3E}">
        <p14:creationId xmlns:p14="http://schemas.microsoft.com/office/powerpoint/2010/main" val="2880418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52E513-96C8-4240-B7F8-81C9C7559E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26" y="828675"/>
            <a:ext cx="5598422" cy="45180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83EF45-DF65-4E60-A62E-FC1AA6B99D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0686" y="0"/>
            <a:ext cx="64796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6750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4191000" y="1451395"/>
            <a:ext cx="71374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earn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from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failures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8256A6F-F282-4F50-9797-05C365C89361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5AC5C-BCE1-4021-81E9-9DCCD0F0B874}"/>
              </a:ext>
            </a:extLst>
          </p:cNvPr>
          <p:cNvSpPr txBox="1"/>
          <p:nvPr/>
        </p:nvSpPr>
        <p:spPr>
          <a:xfrm>
            <a:off x="672317" y="2055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7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0E110568-22A9-45BF-8B09-42E5E4F4F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14750"/>
            <a:ext cx="9239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29916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B2A895-2B31-46FC-AE28-989B798B96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4087" y="2498724"/>
            <a:ext cx="7448687" cy="344487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98E5CAE-08C0-43BC-8924-0F14F861BA89}"/>
              </a:ext>
            </a:extLst>
          </p:cNvPr>
          <p:cNvSpPr txBox="1">
            <a:spLocks/>
          </p:cNvSpPr>
          <p:nvPr/>
        </p:nvSpPr>
        <p:spPr>
          <a:xfrm>
            <a:off x="330200" y="371895"/>
            <a:ext cx="11531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#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developer’s implement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defensive </a:t>
            </a:r>
            <a:r>
              <a:rPr lang="en-US" sz="6000" dirty="0">
                <a:solidFill>
                  <a:srgbClr val="505050"/>
                </a:solidFill>
                <a:latin typeface="Segoe UI Light"/>
              </a:rPr>
              <a:t>code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89073427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0BCF2E-582F-4CBB-AD9F-306690A0E4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0200"/>
            <a:ext cx="7024146" cy="5257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8389AB-0F0C-4E30-A17C-1519B75E0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7687" y="2676525"/>
            <a:ext cx="5153025" cy="27241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AF30AEC-FC47-4E21-AD35-FD6873008614}"/>
              </a:ext>
            </a:extLst>
          </p:cNvPr>
          <p:cNvSpPr txBox="1">
            <a:spLocks/>
          </p:cNvSpPr>
          <p:nvPr/>
        </p:nvSpPr>
        <p:spPr>
          <a:xfrm>
            <a:off x="330200" y="371895"/>
            <a:ext cx="11531600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lang="en-US" sz="6000" dirty="0">
                <a:solidFill>
                  <a:srgbClr val="505050"/>
                </a:solidFill>
              </a:rPr>
              <a:t>… </a:t>
            </a: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with not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in Logic Apps?</a:t>
            </a:r>
          </a:p>
        </p:txBody>
      </p:sp>
    </p:spTree>
    <p:extLst>
      <p:ext uri="{BB962C8B-B14F-4D97-AF65-F5344CB8AC3E}">
        <p14:creationId xmlns:p14="http://schemas.microsoft.com/office/powerpoint/2010/main" val="1065214372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3FA4A5A-5424-4A03-B4D3-7BF06692E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799" y="1239184"/>
            <a:ext cx="9808611" cy="56188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5C9016-4F26-4628-87F6-E14767C27CA5}"/>
              </a:ext>
            </a:extLst>
          </p:cNvPr>
          <p:cNvSpPr/>
          <p:nvPr/>
        </p:nvSpPr>
        <p:spPr>
          <a:xfrm>
            <a:off x="882650" y="390436"/>
            <a:ext cx="104267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rst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(body('Exec_SP_-_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astExecutionTime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sultsets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?['Table1']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astRun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</a:t>
            </a:r>
          </a:p>
          <a:p>
            <a:pPr algn="ctr">
              <a:defRPr/>
            </a:pP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empty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(body('Exec_SP_-_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astExecutionTime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)?['</a:t>
            </a:r>
            <a:r>
              <a:rPr lang="pt-PT" sz="16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sultsets</a:t>
            </a:r>
            <a:r>
              <a:rPr lang="pt-PT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]?['Table1'])</a:t>
            </a:r>
          </a:p>
        </p:txBody>
      </p:sp>
    </p:spTree>
    <p:extLst>
      <p:ext uri="{BB962C8B-B14F-4D97-AF65-F5344CB8AC3E}">
        <p14:creationId xmlns:p14="http://schemas.microsoft.com/office/powerpoint/2010/main" val="352381970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D0939DC1-2BDE-4897-B18E-734032D1A5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3" b="7843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C5576265-0FD5-4AB6-9011-D2D3BC969BAF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95DDED-BB0A-44F3-B465-030659F1A6DF}"/>
              </a:ext>
            </a:extLst>
          </p:cNvPr>
          <p:cNvSpPr txBox="1"/>
          <p:nvPr/>
        </p:nvSpPr>
        <p:spPr>
          <a:xfrm>
            <a:off x="659617" y="1801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8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58E13E-8E11-4B91-BADE-34E28DA62CC3}"/>
              </a:ext>
            </a:extLst>
          </p:cNvPr>
          <p:cNvSpPr/>
          <p:nvPr/>
        </p:nvSpPr>
        <p:spPr bwMode="auto">
          <a:xfrm>
            <a:off x="0" y="2226858"/>
            <a:ext cx="102743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31902EC-FC2B-4ED7-9388-952D913F46A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expressions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nightmare….</a:t>
            </a:r>
          </a:p>
        </p:txBody>
      </p:sp>
    </p:spTree>
    <p:extLst>
      <p:ext uri="{BB962C8B-B14F-4D97-AF65-F5344CB8AC3E}">
        <p14:creationId xmlns:p14="http://schemas.microsoft.com/office/powerpoint/2010/main" val="381343596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3FBB62-4AAD-4615-9C6B-EADD16F12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137" y="166390"/>
            <a:ext cx="9991725" cy="40957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87165A-830E-422A-A1F2-ABF59B0A61EC}"/>
              </a:ext>
            </a:extLst>
          </p:cNvPr>
          <p:cNvSpPr/>
          <p:nvPr/>
        </p:nvSpPr>
        <p:spPr>
          <a:xfrm>
            <a:off x="431800" y="4643735"/>
            <a:ext cx="11328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ody('Execute_SP_-_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et_BZT_lock_error_detail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esultSet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]?['Table1'][0]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rrorDescrip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C19A5C-E14B-4FB7-915A-AFB512B1F56E}"/>
              </a:ext>
            </a:extLst>
          </p:cNvPr>
          <p:cNvSpPr/>
          <p:nvPr/>
        </p:nvSpPr>
        <p:spPr>
          <a:xfrm>
            <a:off x="730250" y="5288398"/>
            <a:ext cx="10731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ca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b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ck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tcNow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ck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item()?[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reate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])), 10000000), ' segundo(s)'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B40602A-CDF2-4063-AB27-08CCA1C53A21}"/>
              </a:ext>
            </a:extLst>
          </p:cNvPr>
          <p:cNvSpPr/>
          <p:nvPr/>
        </p:nvSpPr>
        <p:spPr>
          <a:xfrm>
            <a:off x="609600" y="5881409"/>
            <a:ext cx="11150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tentClea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oodCommunicato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) 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joySess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etExpecta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)),4))</a:t>
            </a:r>
          </a:p>
        </p:txBody>
      </p:sp>
    </p:spTree>
    <p:extLst>
      <p:ext uri="{BB962C8B-B14F-4D97-AF65-F5344CB8AC3E}">
        <p14:creationId xmlns:p14="http://schemas.microsoft.com/office/powerpoint/2010/main" val="4045902317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B25C64D-9E68-472E-96B5-CFD6A8796277}"/>
              </a:ext>
            </a:extLst>
          </p:cNvPr>
          <p:cNvSpPr/>
          <p:nvPr/>
        </p:nvSpPr>
        <p:spPr>
          <a:xfrm>
            <a:off x="2777378" y="2698398"/>
            <a:ext cx="61366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ody(</a:t>
            </a: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Execute_SP_-_</a:t>
            </a:r>
            <a:r>
              <a:rPr kumimoji="0" lang="pt-P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et_BZT_lock_error_details</a:t>
            </a: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</a:t>
            </a: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75A2CB-51F5-4C67-9EC1-0E3D6EC1E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3994" y="2231503"/>
            <a:ext cx="1301641" cy="13031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9D0DBF-3811-4E04-8281-71B657DF260A}"/>
              </a:ext>
            </a:extLst>
          </p:cNvPr>
          <p:cNvSpPr txBox="1"/>
          <p:nvPr/>
        </p:nvSpPr>
        <p:spPr>
          <a:xfrm>
            <a:off x="2777378" y="3429000"/>
            <a:ext cx="6637244" cy="140346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Name of the actions with the space replace by underscore</a:t>
            </a:r>
            <a:endParaRPr kumimoji="0" lang="en-US" sz="44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7756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26F6C2-F565-4794-8392-32D4AA68AF7F}"/>
              </a:ext>
            </a:extLst>
          </p:cNvPr>
          <p:cNvSpPr/>
          <p:nvPr/>
        </p:nvSpPr>
        <p:spPr>
          <a:xfrm>
            <a:off x="1587500" y="1284009"/>
            <a:ext cx="84836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v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ntentClea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oodCommunicator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) 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dd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EnjoySess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))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	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nt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riables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'</a:t>
            </a:r>
            <a:r>
              <a:rPr kumimoji="0" lang="pt-PT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etExpectation</a:t>
            </a: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’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	,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	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07774363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Resultado de imagem para post it">
            <a:extLst>
              <a:ext uri="{FF2B5EF4-FFF2-40B4-BE49-F238E27FC236}">
                <a16:creationId xmlns:a16="http://schemas.microsoft.com/office/drawing/2014/main" id="{B3603DB4-68DC-4C64-BEB7-4E300C8D4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79" y="258856"/>
            <a:ext cx="476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640B11CD-E4D7-472C-83E7-3B34AB399001}"/>
              </a:ext>
            </a:extLst>
          </p:cNvPr>
          <p:cNvSpPr txBox="1">
            <a:spLocks/>
          </p:cNvSpPr>
          <p:nvPr/>
        </p:nvSpPr>
        <p:spPr>
          <a:xfrm>
            <a:off x="4966447" y="2294251"/>
            <a:ext cx="6965576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ntrol </a:t>
            </a: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our </a:t>
            </a:r>
            <a:r>
              <a:rPr kumimoji="0" lang="en-US" sz="48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connectors</a:t>
            </a:r>
            <a:r>
              <a:rPr lang="en-US" sz="4800" dirty="0">
                <a:solidFill>
                  <a:srgbClr val="505050"/>
                </a:solidFill>
              </a:rPr>
              <a:t> (API connections)</a:t>
            </a:r>
            <a:endParaRPr kumimoji="0" lang="en-US" sz="4800" b="0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B87D00-0AA4-433B-9360-B1146DBC7A91}"/>
              </a:ext>
            </a:extLst>
          </p:cNvPr>
          <p:cNvSpPr txBox="1"/>
          <p:nvPr/>
        </p:nvSpPr>
        <p:spPr>
          <a:xfrm>
            <a:off x="4966447" y="5118382"/>
            <a:ext cx="6637244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Duplicate connection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nused</a:t>
            </a:r>
            <a:r>
              <a:rPr kumimoji="0" lang="en-US" sz="2400" b="1" i="0" u="none" strike="noStrike" kern="1200" cap="none" spc="-102" normalizeH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connections</a:t>
            </a:r>
            <a:endParaRPr kumimoji="0" lang="en-US" sz="24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Who are using this connections?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F137E6C-6FB1-425A-8CE7-09D83C917884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B4146FE-3123-4939-B8C8-B44284C2654F}"/>
              </a:ext>
            </a:extLst>
          </p:cNvPr>
          <p:cNvSpPr txBox="1"/>
          <p:nvPr/>
        </p:nvSpPr>
        <p:spPr>
          <a:xfrm>
            <a:off x="659617" y="1674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9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CFD031-23BE-4B68-80A8-A4E5D09EC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122886">
            <a:off x="2012904" y="1925420"/>
            <a:ext cx="2228850" cy="142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2293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F6556E5A-361F-4370-AA52-623866E54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0328324-6137-4295-B5F8-4245360598CC}"/>
              </a:ext>
            </a:extLst>
          </p:cNvPr>
          <p:cNvSpPr/>
          <p:nvPr/>
        </p:nvSpPr>
        <p:spPr bwMode="auto">
          <a:xfrm>
            <a:off x="0" y="4233458"/>
            <a:ext cx="93726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9A33B3-75CF-4A91-8330-DBEE671048B4}"/>
              </a:ext>
            </a:extLst>
          </p:cNvPr>
          <p:cNvSpPr txBox="1">
            <a:spLocks/>
          </p:cNvSpPr>
          <p:nvPr/>
        </p:nvSpPr>
        <p:spPr>
          <a:xfrm>
            <a:off x="269238" y="43844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his house hav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kids'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917746468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5F4018-8A44-4271-9C46-F09B9575F1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4840941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D88151-FD97-40B7-BBBC-925F2E03A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3294" y="200025"/>
            <a:ext cx="8713716" cy="43533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AEFA08-B813-4EF3-8499-65EB6F860C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254" y="2114240"/>
            <a:ext cx="8535591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124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53B808B0-0CB1-4DAD-B1EC-67DBBF1694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43"/>
          <a:stretch/>
        </p:blipFill>
        <p:spPr bwMode="auto">
          <a:xfrm>
            <a:off x="0" y="-26741"/>
            <a:ext cx="12192000" cy="688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8BB373A-7853-46DD-B5F3-6B564E4C40BE}"/>
              </a:ext>
            </a:extLst>
          </p:cNvPr>
          <p:cNvSpPr/>
          <p:nvPr/>
        </p:nvSpPr>
        <p:spPr bwMode="auto">
          <a:xfrm>
            <a:off x="0" y="5126504"/>
            <a:ext cx="113792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8D56974-A88E-4B02-A14E-4EAA627C5275}"/>
              </a:ext>
            </a:extLst>
          </p:cNvPr>
          <p:cNvSpPr txBox="1">
            <a:spLocks/>
          </p:cNvSpPr>
          <p:nvPr/>
        </p:nvSpPr>
        <p:spPr>
          <a:xfrm>
            <a:off x="307338" y="5277516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lang="en-US" sz="6000" dirty="0">
                <a:solidFill>
                  <a:srgbClr val="FFFFFF"/>
                </a:solidFill>
                <a:latin typeface="Segoe UI Light"/>
              </a:rPr>
              <a:t>find</a:t>
            </a:r>
            <a:r>
              <a:rPr lang="en-US" sz="6000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orphaned </a:t>
            </a:r>
            <a:r>
              <a:rPr lang="en-US" sz="6000" dirty="0">
                <a:solidFill>
                  <a:srgbClr val="FFFFFF"/>
                </a:solidFill>
                <a:latin typeface="Segoe UI Light"/>
              </a:rPr>
              <a:t>API Connectors…</a:t>
            </a:r>
            <a:endParaRPr kumimoji="0" lang="en-US" sz="6000" b="0" i="0" u="none" strike="noStrike" kern="1200" cap="none" spc="-102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342D1-4F45-40A3-B577-219AC775B5C0}"/>
              </a:ext>
            </a:extLst>
          </p:cNvPr>
          <p:cNvSpPr txBox="1"/>
          <p:nvPr/>
        </p:nvSpPr>
        <p:spPr>
          <a:xfrm>
            <a:off x="3467100" y="542604"/>
            <a:ext cx="8300757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There is no simple and direct way to find unused API Connections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Nightmare for governanc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chemeClr val="bg1"/>
                </a:solidFill>
                <a:latin typeface="Segoe UI Light"/>
                <a:cs typeface="Segoe UI" pitchFamily="34" charset="0"/>
              </a:rPr>
              <a:t>One of the biggest pains in Logic App developmen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7B731E6-8027-47C2-AE74-394A47DE9D24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C1A17D-22A1-4A46-A745-ADB5B7306DDA}"/>
              </a:ext>
            </a:extLst>
          </p:cNvPr>
          <p:cNvSpPr txBox="1"/>
          <p:nvPr/>
        </p:nvSpPr>
        <p:spPr>
          <a:xfrm>
            <a:off x="253217" y="192887"/>
            <a:ext cx="2083583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0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8243331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B94ABDE-E7F6-447F-8DBB-BB9DF5E2CE2F}"/>
              </a:ext>
            </a:extLst>
          </p:cNvPr>
          <p:cNvSpPr/>
          <p:nvPr/>
        </p:nvSpPr>
        <p:spPr>
          <a:xfrm>
            <a:off x="304800" y="286435"/>
            <a:ext cx="85725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dirty="0">
                <a:hlinkClick r:id="rId2"/>
              </a:rPr>
              <a:t>https://www.integration-playbook.io/docs/find-orphaned-api-connectors</a:t>
            </a:r>
            <a:endParaRPr lang="pt-P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1A51D-2967-4BCC-9193-29F0AB978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3400" y="655767"/>
            <a:ext cx="10189401" cy="6055573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D47E8FFD-B783-4B44-96B2-20B38CFF11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1366967"/>
            <a:ext cx="1778000" cy="177800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8012721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DEDADF-FCF0-4680-8102-796BD946E6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980" y="1866900"/>
            <a:ext cx="3831041" cy="38354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3A2F11B-6796-4E04-9EE0-84C670785202}"/>
              </a:ext>
            </a:extLst>
          </p:cNvPr>
          <p:cNvSpPr txBox="1">
            <a:spLocks/>
          </p:cNvSpPr>
          <p:nvPr/>
        </p:nvSpPr>
        <p:spPr>
          <a:xfrm>
            <a:off x="5305425" y="536638"/>
            <a:ext cx="6538632" cy="9554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fix </a:t>
            </a:r>
            <a:r>
              <a:rPr lang="en-US" sz="6000" dirty="0">
                <a:solidFill>
                  <a:srgbClr val="505050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nnectors</a:t>
            </a:r>
            <a:r>
              <a:rPr lang="en-US" sz="6000" dirty="0">
                <a:solidFill>
                  <a:srgbClr val="505050"/>
                </a:solidFill>
              </a:rPr>
              <a:t> (API connections)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34DE70-1933-472D-AAC7-C54E24B20E12}"/>
              </a:ext>
            </a:extLst>
          </p:cNvPr>
          <p:cNvSpPr txBox="1"/>
          <p:nvPr/>
        </p:nvSpPr>
        <p:spPr>
          <a:xfrm>
            <a:off x="5206813" y="4543104"/>
            <a:ext cx="6637244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Designer performs design-time checks against your logic app flow for design issu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Errors put into focus to save your time and frustration</a:t>
            </a:r>
            <a:endParaRPr kumimoji="0" lang="en-US" sz="2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43D68AE-1B00-4878-B797-74FCD2D044BF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81B02E-1456-4389-81D4-EC801BE37563}"/>
              </a:ext>
            </a:extLst>
          </p:cNvPr>
          <p:cNvSpPr txBox="1"/>
          <p:nvPr/>
        </p:nvSpPr>
        <p:spPr>
          <a:xfrm>
            <a:off x="253217" y="192887"/>
            <a:ext cx="2083583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1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47188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F5CA17-6ECF-4019-831C-96BB0A2DD2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675" y="600075"/>
            <a:ext cx="6191250" cy="28289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DDA0E92-F347-4A50-A78F-C5AB593111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0662" y="3252787"/>
            <a:ext cx="6467475" cy="309562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EC7731C-E88E-48F0-BDA0-8090507653F7}"/>
              </a:ext>
            </a:extLst>
          </p:cNvPr>
          <p:cNvSpPr/>
          <p:nvPr/>
        </p:nvSpPr>
        <p:spPr bwMode="auto">
          <a:xfrm>
            <a:off x="6096000" y="5143500"/>
            <a:ext cx="469900" cy="469900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1799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27C99F-5F29-1946-9A7F-5A2C42FEA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049"/>
            <a:r>
              <a:rPr lang="en-US">
                <a:solidFill>
                  <a:srgbClr val="5F5F5F"/>
                </a:solidFill>
              </a:rPr>
              <a:t> </a:t>
            </a:r>
          </a:p>
          <a:p>
            <a:pPr defTabSz="914049"/>
            <a:endParaRPr lang="en-US">
              <a:solidFill>
                <a:srgbClr val="5F5F5F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7C60C-D6F0-874B-9388-E040B308C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214" y="191364"/>
            <a:ext cx="10495964" cy="740003"/>
          </a:xfrm>
        </p:spPr>
        <p:txBody>
          <a:bodyPr/>
          <a:lstStyle/>
          <a:p>
            <a:r>
              <a:rPr lang="en-US" sz="3921"/>
              <a:t>Thanks! </a:t>
            </a:r>
            <a:endParaRPr lang="en-US" sz="3921" b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371BC68-2342-A641-9DE5-1E5CA77E97D1}"/>
              </a:ext>
            </a:extLst>
          </p:cNvPr>
          <p:cNvSpPr txBox="1">
            <a:spLocks/>
          </p:cNvSpPr>
          <p:nvPr/>
        </p:nvSpPr>
        <p:spPr>
          <a:xfrm>
            <a:off x="4613769" y="6175624"/>
            <a:ext cx="6442945" cy="362409"/>
          </a:xfrm>
          <a:prstGeom prst="rect">
            <a:avLst/>
          </a:prstGeom>
        </p:spPr>
        <p:txBody>
          <a:bodyPr/>
          <a:lstStyle>
            <a:lvl1pPr marL="408147" indent="-408147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3529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884319" indent="-340123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333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36049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84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904687" indent="-272098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448883" indent="-272098" algn="l" defTabSz="544196" rtl="0" eaLnBrk="1" latinLnBrk="0" hangingPunct="1">
              <a:spcBef>
                <a:spcPct val="20000"/>
              </a:spcBef>
              <a:buFont typeface="Arial"/>
              <a:buChar char="»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93078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275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47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5667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43987">
              <a:buClr>
                <a:srgbClr val="EB4723"/>
              </a:buClr>
              <a:buNone/>
            </a:pPr>
            <a:r>
              <a:rPr lang="en-US" sz="1371">
                <a:solidFill>
                  <a:srgbClr val="000000"/>
                </a:solidFill>
                <a:latin typeface="Segoe UI Semilight" panose="020B0402040204020203" pitchFamily="34" charset="0"/>
                <a:ea typeface="Helvetica Neue Light" charset="0"/>
                <a:cs typeface="Segoe UI Semilight" panose="020B0402040204020203" pitchFamily="34" charset="0"/>
              </a:rPr>
              <a:t>Microsoft MVP Award recognizes exceptional community leadership</a:t>
            </a:r>
            <a:endParaRPr lang="en-US" sz="1371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471666A7-3ECC-164E-80CE-0F865D7D13FC}"/>
              </a:ext>
            </a:extLst>
          </p:cNvPr>
          <p:cNvSpPr txBox="1">
            <a:spLocks/>
          </p:cNvSpPr>
          <p:nvPr/>
        </p:nvSpPr>
        <p:spPr>
          <a:xfrm>
            <a:off x="455042" y="1309201"/>
            <a:ext cx="4212360" cy="1735906"/>
          </a:xfrm>
          <a:prstGeom prst="rect">
            <a:avLst/>
          </a:prstGeom>
        </p:spPr>
        <p:txBody>
          <a:bodyPr/>
          <a:lstStyle>
            <a:lvl1pPr marL="408147" indent="-408147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3529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884319" indent="-340123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333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36049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84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904687" indent="-272098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448883" indent="-272098" algn="l" defTabSz="544196" rtl="0" eaLnBrk="1" latinLnBrk="0" hangingPunct="1">
              <a:spcBef>
                <a:spcPct val="20000"/>
              </a:spcBef>
              <a:buFont typeface="Arial"/>
              <a:buChar char="»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93078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275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47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5667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43987">
              <a:spcBef>
                <a:spcPts val="0"/>
              </a:spcBef>
              <a:buClr>
                <a:srgbClr val="EB4723"/>
              </a:buClr>
              <a:buNone/>
            </a:pPr>
            <a:r>
              <a:rPr lang="pt-PT" sz="1400" b="1">
                <a:solidFill>
                  <a:srgbClr val="F05527"/>
                </a:solidFill>
                <a:ea typeface="Helvetica Neue Light" charset="0"/>
              </a:rPr>
              <a:t>DevScope</a:t>
            </a:r>
          </a:p>
          <a:p>
            <a:pPr marL="0" indent="0" defTabSz="543987">
              <a:buClr>
                <a:srgbClr val="EB4723"/>
              </a:buClr>
              <a:buNone/>
            </a:pPr>
            <a:r>
              <a:rPr lang="pt-PT" sz="1400">
                <a:solidFill>
                  <a:srgbClr val="000000"/>
                </a:solidFill>
                <a:ea typeface="Helvetica Neue Light" charset="0"/>
              </a:rPr>
              <a:t>+351 223 751 350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>
                <a:solidFill>
                  <a:srgbClr val="000000"/>
                </a:solidFill>
              </a:rPr>
              <a:t>support@devscope.net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>
                <a:solidFill>
                  <a:srgbClr val="000000"/>
                </a:solidFill>
              </a:rPr>
              <a:t>https://pt.linkedin.com/company/devscope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>
                <a:solidFill>
                  <a:srgbClr val="000000"/>
                </a:solidFill>
              </a:rPr>
              <a:t>@DevScope  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>
                <a:solidFill>
                  <a:srgbClr val="000000"/>
                </a:solidFill>
              </a:rPr>
              <a:t>www.devscope.ne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C4DBB3B-3D11-B645-8AC0-B31AE66006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01"/>
          <a:stretch/>
        </p:blipFill>
        <p:spPr>
          <a:xfrm>
            <a:off x="5710196" y="1609587"/>
            <a:ext cx="3105537" cy="455675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C742997-706C-194D-BCDC-C8EEEE49A0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649" y="1582539"/>
            <a:ext cx="3036480" cy="458380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03195C3-5409-E748-AD37-54D76A98EA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874" y="1571485"/>
            <a:ext cx="3043801" cy="459485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4B237B7-2C51-4A3C-8B21-7D55A1FCADDD}"/>
              </a:ext>
            </a:extLst>
          </p:cNvPr>
          <p:cNvSpPr/>
          <p:nvPr/>
        </p:nvSpPr>
        <p:spPr>
          <a:xfrm>
            <a:off x="5681113" y="1514855"/>
            <a:ext cx="2932310" cy="6462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67"/>
            <a:r>
              <a:rPr lang="en-US" sz="1765">
                <a:solidFill>
                  <a:srgbClr val="D2D2D2">
                    <a:lumMod val="75000"/>
                  </a:srgbClr>
                </a:solidFill>
                <a:latin typeface="Segoe UI"/>
                <a:ea typeface="Helvetica Neue Light" charset="0"/>
              </a:rPr>
              <a:t>Visual Studio &amp;</a:t>
            </a:r>
          </a:p>
          <a:p>
            <a:pPr algn="ctr" defTabSz="914367"/>
            <a:r>
              <a:rPr lang="en-US" sz="1765">
                <a:solidFill>
                  <a:srgbClr val="D2D2D2">
                    <a:lumMod val="75000"/>
                  </a:srgbClr>
                </a:solidFill>
                <a:latin typeface="Segoe UI"/>
              </a:rPr>
              <a:t>Development Technolog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C95C180-10B9-4D98-9954-2B0336DA1B2E}"/>
              </a:ext>
            </a:extLst>
          </p:cNvPr>
          <p:cNvSpPr/>
          <p:nvPr/>
        </p:nvSpPr>
        <p:spPr>
          <a:xfrm>
            <a:off x="8452510" y="1514856"/>
            <a:ext cx="1588223" cy="3692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7"/>
            <a:r>
              <a:rPr lang="en-US" sz="1765">
                <a:solidFill>
                  <a:srgbClr val="D2D2D2">
                    <a:lumMod val="75000"/>
                  </a:srgbClr>
                </a:solidFill>
                <a:latin typeface="Segoe UI"/>
                <a:ea typeface="Helvetica Neue Light" charset="0"/>
              </a:rPr>
              <a:t>Data Platform</a:t>
            </a:r>
            <a:endParaRPr lang="en-US" sz="1765">
              <a:solidFill>
                <a:srgbClr val="D2D2D2">
                  <a:lumMod val="75000"/>
                </a:srgbClr>
              </a:solidFill>
              <a:latin typeface="Segoe U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0086D37-F91E-4D4C-B512-7FF98CAD7518}"/>
              </a:ext>
            </a:extLst>
          </p:cNvPr>
          <p:cNvSpPr/>
          <p:nvPr/>
        </p:nvSpPr>
        <p:spPr>
          <a:xfrm>
            <a:off x="10028003" y="1664188"/>
            <a:ext cx="1818907" cy="362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7"/>
            <a:r>
              <a:rPr lang="pt-PT" sz="1765">
                <a:solidFill>
                  <a:srgbClr val="D2D2D2">
                    <a:lumMod val="75000"/>
                  </a:srgbClr>
                </a:solidFill>
                <a:latin typeface="Segoe UI"/>
                <a:ea typeface="Helvetica Neue Light" charset="0"/>
              </a:rPr>
              <a:t>Microsoft Azure </a:t>
            </a:r>
          </a:p>
        </p:txBody>
      </p:sp>
      <p:pic>
        <p:nvPicPr>
          <p:cNvPr id="21" name="Picture 2" descr="http://4.bp.blogspot.com/-OUfCsUCY3B4/VGgJCYMcsGI/AAAAAAAAIuQ/dyBpOE8ZilM/s230/mvp_logo.png">
            <a:extLst>
              <a:ext uri="{FF2B5EF4-FFF2-40B4-BE49-F238E27FC236}">
                <a16:creationId xmlns:a16="http://schemas.microsoft.com/office/drawing/2014/main" id="{1D24BF09-3461-43DB-AA95-E6AC642BA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0048" y="5461638"/>
            <a:ext cx="2190129" cy="100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9F8F424B-528C-4347-BFDF-8BC62E84A8E2}"/>
              </a:ext>
            </a:extLst>
          </p:cNvPr>
          <p:cNvSpPr txBox="1">
            <a:spLocks/>
          </p:cNvSpPr>
          <p:nvPr/>
        </p:nvSpPr>
        <p:spPr>
          <a:xfrm>
            <a:off x="462214" y="3255208"/>
            <a:ext cx="4212360" cy="1613351"/>
          </a:xfrm>
          <a:prstGeom prst="rect">
            <a:avLst/>
          </a:prstGeom>
        </p:spPr>
        <p:txBody>
          <a:bodyPr/>
          <a:lstStyle>
            <a:lvl1pPr marL="408147" indent="-408147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3529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884319" indent="-340123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333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36049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84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904687" indent="-272098" algn="l" defTabSz="544196" rtl="0" eaLnBrk="1" latinLnBrk="0" hangingPunct="1">
              <a:spcBef>
                <a:spcPct val="20000"/>
              </a:spcBef>
              <a:buFont typeface="Arial"/>
              <a:buChar char="–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448883" indent="-272098" algn="l" defTabSz="544196" rtl="0" eaLnBrk="1" latinLnBrk="0" hangingPunct="1">
              <a:spcBef>
                <a:spcPct val="20000"/>
              </a:spcBef>
              <a:buFont typeface="Arial"/>
              <a:buChar char="»"/>
              <a:defRPr sz="2353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93078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275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471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5667" indent="-272098" algn="l" defTabSz="544196" rtl="0" eaLnBrk="1" latinLnBrk="0" hangingPunct="1">
              <a:spcBef>
                <a:spcPct val="20000"/>
              </a:spcBef>
              <a:buFont typeface="Arial"/>
              <a:buChar char="•"/>
              <a:defRPr sz="23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43987">
              <a:spcBef>
                <a:spcPts val="0"/>
              </a:spcBef>
              <a:buClr>
                <a:srgbClr val="EB4723"/>
              </a:buClr>
              <a:buNone/>
            </a:pPr>
            <a:r>
              <a:rPr lang="pt-PT" sz="1400" b="1" dirty="0">
                <a:solidFill>
                  <a:srgbClr val="F05527"/>
                </a:solidFill>
                <a:ea typeface="Helvetica Neue Light" charset="0"/>
              </a:rPr>
              <a:t>Sandro Pereira</a:t>
            </a:r>
            <a:endParaRPr lang="pt-PT" sz="1400" dirty="0">
              <a:solidFill>
                <a:srgbClr val="000000"/>
              </a:solidFill>
              <a:ea typeface="Helvetica Neue Light" charset="0"/>
            </a:endParaRP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 dirty="0">
                <a:solidFill>
                  <a:srgbClr val="000000"/>
                </a:solidFill>
              </a:rPr>
              <a:t>sandro.pereira@devscope.net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 dirty="0">
                <a:solidFill>
                  <a:srgbClr val="000000"/>
                </a:solidFill>
              </a:rPr>
              <a:t>linkedin.com/in/</a:t>
            </a:r>
            <a:r>
              <a:rPr lang="pt-PT" sz="1400" dirty="0" err="1">
                <a:solidFill>
                  <a:srgbClr val="000000"/>
                </a:solidFill>
              </a:rPr>
              <a:t>sandropereira</a:t>
            </a:r>
            <a:endParaRPr lang="pt-PT" sz="1400" dirty="0">
              <a:solidFill>
                <a:srgbClr val="000000"/>
              </a:solidFill>
            </a:endParaRP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 dirty="0">
                <a:solidFill>
                  <a:srgbClr val="000000"/>
                </a:solidFill>
              </a:rPr>
              <a:t>@sandro_asp  </a:t>
            </a:r>
          </a:p>
          <a:p>
            <a:pPr marL="400107" indent="-400107" defTabSz="543987">
              <a:buClr>
                <a:srgbClr val="EB4723"/>
              </a:buClr>
              <a:buFont typeface="Wingdings" panose="05000000000000000000" pitchFamily="2" charset="2"/>
              <a:buChar char="v"/>
            </a:pPr>
            <a:r>
              <a:rPr lang="pt-PT" sz="1400" dirty="0">
                <a:solidFill>
                  <a:srgbClr val="000000"/>
                </a:solidFill>
              </a:rPr>
              <a:t>https://blog.sandro-pereira.com/</a:t>
            </a:r>
          </a:p>
        </p:txBody>
      </p:sp>
    </p:spTree>
    <p:extLst>
      <p:ext uri="{BB962C8B-B14F-4D97-AF65-F5344CB8AC3E}">
        <p14:creationId xmlns:p14="http://schemas.microsoft.com/office/powerpoint/2010/main" val="28128405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841CC0-4146-43F8-8E7D-53A11857D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1DE6E9-66EB-4FD6-95A5-04356B496E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7" y="6045722"/>
            <a:ext cx="1895631" cy="4842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FC3346-D755-49C3-AF94-A4E9E224A47B}"/>
              </a:ext>
            </a:extLst>
          </p:cNvPr>
          <p:cNvSpPr/>
          <p:nvPr/>
        </p:nvSpPr>
        <p:spPr bwMode="auto">
          <a:xfrm>
            <a:off x="1187144" y="1998407"/>
            <a:ext cx="9817712" cy="2861187"/>
          </a:xfrm>
          <a:prstGeom prst="rect">
            <a:avLst/>
          </a:prstGeom>
          <a:solidFill>
            <a:srgbClr val="A78D6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I quickly implement them, and they seem to be working fine, but… How are my Logic Apps? What Was Wrong?</a:t>
            </a:r>
            <a:endParaRPr lang="pt-PT" sz="36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7C489D-1935-488A-B799-41A977A129C8}"/>
              </a:ext>
            </a:extLst>
          </p:cNvPr>
          <p:cNvSpPr/>
          <p:nvPr/>
        </p:nvSpPr>
        <p:spPr>
          <a:xfrm>
            <a:off x="8847654" y="6464284"/>
            <a:ext cx="20596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pt-PT" cap="all" dirty="0">
                <a:solidFill>
                  <a:srgbClr val="999999"/>
                </a:solidFill>
                <a:latin typeface="nyt-magsans"/>
                <a:hlinkClick r:id="rId4"/>
              </a:rPr>
              <a:t>LISA SANDERS, M.D.</a:t>
            </a:r>
            <a:endParaRPr lang="pt-PT" b="0" i="0" u="none" strike="noStrike" dirty="0">
              <a:solidFill>
                <a:srgbClr val="999999"/>
              </a:solidFill>
              <a:effectLst/>
              <a:latin typeface="nyt-magsans"/>
              <a:hlinkClick r:id="rId4"/>
            </a:endParaRPr>
          </a:p>
        </p:txBody>
      </p:sp>
    </p:spTree>
    <p:extLst>
      <p:ext uri="{BB962C8B-B14F-4D97-AF65-F5344CB8AC3E}">
        <p14:creationId xmlns:p14="http://schemas.microsoft.com/office/powerpoint/2010/main" val="8327653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0BF0F40E-7427-4D05-9239-4AD2F5AF54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4" b="103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93726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A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naming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vention…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18687A-8D67-44E5-9C00-A23A1CB5B4AB}"/>
              </a:ext>
            </a:extLst>
          </p:cNvPr>
          <p:cNvSpPr txBox="1"/>
          <p:nvPr/>
        </p:nvSpPr>
        <p:spPr>
          <a:xfrm>
            <a:off x="5130613" y="542604"/>
            <a:ext cx="6637244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You can’t rename Logic Apps… directly</a:t>
            </a:r>
            <a:endParaRPr lang="en-US" sz="28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3891B96-0F84-49AE-975B-DB5BDA4024CA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0F4E0F-0252-4AFD-9C57-5BA1AF6A2D26}"/>
              </a:ext>
            </a:extLst>
          </p:cNvPr>
          <p:cNvSpPr txBox="1"/>
          <p:nvPr/>
        </p:nvSpPr>
        <p:spPr>
          <a:xfrm>
            <a:off x="634217" y="1293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1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057414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176191-AB34-442E-990B-B9AEAAFA8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8" y="0"/>
            <a:ext cx="1217036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14D8DC-F70E-436E-B4FE-59F9D5352B94}"/>
              </a:ext>
            </a:extLst>
          </p:cNvPr>
          <p:cNvSpPr txBox="1"/>
          <p:nvPr/>
        </p:nvSpPr>
        <p:spPr>
          <a:xfrm>
            <a:off x="5919473" y="440266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cessingLastElementXMLArray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C1E995-1DE0-40AE-9F8A-99969A7EC41D}"/>
              </a:ext>
            </a:extLst>
          </p:cNvPr>
          <p:cNvSpPr txBox="1"/>
          <p:nvPr/>
        </p:nvSpPr>
        <p:spPr>
          <a:xfrm>
            <a:off x="5919474" y="1338859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heckJSONStructureContainArray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666FE9-186A-463B-9B90-D84643F7557D}"/>
              </a:ext>
            </a:extLst>
          </p:cNvPr>
          <p:cNvSpPr txBox="1"/>
          <p:nvPr/>
        </p:nvSpPr>
        <p:spPr>
          <a:xfrm>
            <a:off x="5919474" y="89063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WithArrays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F79B3F-0CEF-4F83-AFBD-C1A4C8DFF688}"/>
              </a:ext>
            </a:extLst>
          </p:cNvPr>
          <p:cNvSpPr txBox="1"/>
          <p:nvPr/>
        </p:nvSpPr>
        <p:spPr>
          <a:xfrm>
            <a:off x="5919474" y="1806399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GAB2020-Event-EmailDemo</a:t>
            </a:r>
            <a:endParaRPr kumimoji="0" lang="en-US" sz="2000" b="1" i="0" u="none" strike="noStrike" kern="1200" cap="none" spc="-102" normalizeH="0" baseline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C7E84F-4364-44B0-8844-80D6F215CE8D}"/>
              </a:ext>
            </a:extLst>
          </p:cNvPr>
          <p:cNvSpPr txBox="1"/>
          <p:nvPr/>
        </p:nvSpPr>
        <p:spPr>
          <a:xfrm>
            <a:off x="5919474" y="4498370"/>
            <a:ext cx="569251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POC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ReceiveJSONDemoMsgFromBizTalk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DEV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545DA9-0B05-4449-9ABC-3BD331ACADD9}"/>
              </a:ext>
            </a:extLst>
          </p:cNvPr>
          <p:cNvSpPr txBox="1"/>
          <p:nvPr/>
        </p:nvSpPr>
        <p:spPr>
          <a:xfrm>
            <a:off x="5919474" y="4934149"/>
            <a:ext cx="528040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POC-OCR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-DE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444CBD-2433-4F3E-AC4E-D818F5512322}"/>
              </a:ext>
            </a:extLst>
          </p:cNvPr>
          <p:cNvSpPr txBox="1"/>
          <p:nvPr/>
        </p:nvSpPr>
        <p:spPr>
          <a:xfrm>
            <a:off x="5919474" y="5394664"/>
            <a:ext cx="5594863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InvoiceProcessing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pic>
        <p:nvPicPr>
          <p:cNvPr id="13314" name="Picture 2" descr="Resultado de imagem para ok">
            <a:extLst>
              <a:ext uri="{FF2B5EF4-FFF2-40B4-BE49-F238E27FC236}">
                <a16:creationId xmlns:a16="http://schemas.microsoft.com/office/drawing/2014/main" id="{E5E7CE69-A1E3-4FD3-A22C-436F79238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636" y="4105595"/>
            <a:ext cx="492023" cy="492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F0F853-0B98-4E10-84B7-8C6501C3DC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5028546"/>
            <a:ext cx="457730" cy="4582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E2FF87A-BD48-4A76-9C75-3BCB5F973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25073"/>
            <a:ext cx="457729" cy="4582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F66C309-F5A5-4DD4-B221-A8DF0FE97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979186"/>
            <a:ext cx="457729" cy="4582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F9D074A-06E7-43BB-9A2B-6C294249A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1426156"/>
            <a:ext cx="457730" cy="4582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7E807E9-BB66-453E-9A9C-5E35C591C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2322477"/>
            <a:ext cx="457730" cy="4582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B262811-8869-4E36-B287-384863DD5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1875507"/>
            <a:ext cx="457729" cy="45825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D81D68F-6606-4C25-8EEC-6C742AC259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2771828"/>
            <a:ext cx="457730" cy="45825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89CFE02-43F6-4DDF-9F68-87739CF368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3221179"/>
            <a:ext cx="457729" cy="45825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7606C32-B35A-425F-BFD0-0C2DDD4A56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782" y="3668149"/>
            <a:ext cx="457730" cy="45825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19ADA20-B357-4943-919B-D694BDAE8B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4576814"/>
            <a:ext cx="457729" cy="4582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7EEA171-24E5-49EF-A227-640CE36A58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477897"/>
            <a:ext cx="457729" cy="45825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F2E83B5-C913-4F8F-93A9-36021BF7E3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5927248"/>
            <a:ext cx="457729" cy="4582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E5A1830-FEFC-45AA-8D67-AF7F07BDD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9783" y="6374212"/>
            <a:ext cx="457729" cy="45825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5B37C38B-2F24-4964-8821-C708726D993D}"/>
              </a:ext>
            </a:extLst>
          </p:cNvPr>
          <p:cNvSpPr txBox="1"/>
          <p:nvPr/>
        </p:nvSpPr>
        <p:spPr>
          <a:xfrm>
            <a:off x="5920871" y="2253688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allAzureFunctionHTTPTrigger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723169-6B4F-4F75-B505-6302289D2605}"/>
              </a:ext>
            </a:extLst>
          </p:cNvPr>
          <p:cNvSpPr txBox="1"/>
          <p:nvPr/>
        </p:nvSpPr>
        <p:spPr>
          <a:xfrm>
            <a:off x="5920872" y="315228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&lt;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project-name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&gt;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MonitorBizTalkPorts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943F661-7801-4036-A75E-1CF031B5BEB7}"/>
              </a:ext>
            </a:extLst>
          </p:cNvPr>
          <p:cNvSpPr txBox="1"/>
          <p:nvPr/>
        </p:nvSpPr>
        <p:spPr>
          <a:xfrm>
            <a:off x="5920872" y="2704053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POC-</a:t>
            </a:r>
            <a:r>
              <a:rPr kumimoji="0" lang="pt-PT" sz="2000" b="1" i="0" u="none" strike="noStrike" kern="1200" cap="none" spc="-102" normalizeH="0" baseline="0" dirty="0" err="1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HowToHandleGetCalls</a:t>
            </a:r>
            <a:r>
              <a:rPr kumimoji="0" lang="pt-PT" sz="2000" b="1" i="0" u="none" strike="noStrike" kern="1200" cap="none" spc="-102" normalizeH="0" baseline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-DEV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36F247C-8A5C-49A7-8E0B-C80BD4AC7686}"/>
              </a:ext>
            </a:extLst>
          </p:cNvPr>
          <p:cNvSpPr txBox="1"/>
          <p:nvPr/>
        </p:nvSpPr>
        <p:spPr>
          <a:xfrm>
            <a:off x="5920872" y="3619821"/>
            <a:ext cx="5042958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IntMonday</a:t>
            </a:r>
            <a:r>
              <a:rPr lang="en-US" sz="20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-Event-</a:t>
            </a:r>
            <a:r>
              <a:rPr lang="en-US" sz="2000" b="1" spc="-102" dirty="0" err="1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OneDriveToEmailDemo</a:t>
            </a:r>
            <a:endParaRPr kumimoji="0" lang="en-US" sz="2000" b="1" i="0" u="none" strike="noStrike" kern="1200" cap="none" spc="-102" normalizeH="0" baseline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4A2C573-28A8-49E9-8F3B-6BA4082AC23D}"/>
              </a:ext>
            </a:extLst>
          </p:cNvPr>
          <p:cNvSpPr txBox="1"/>
          <p:nvPr/>
        </p:nvSpPr>
        <p:spPr>
          <a:xfrm>
            <a:off x="5912482" y="5865846"/>
            <a:ext cx="5925651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ExpensesProcessing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9F28772-684F-4E5F-B876-CE7CC853A846}"/>
              </a:ext>
            </a:extLst>
          </p:cNvPr>
          <p:cNvSpPr txBox="1"/>
          <p:nvPr/>
        </p:nvSpPr>
        <p:spPr>
          <a:xfrm>
            <a:off x="5904093" y="6293685"/>
            <a:ext cx="6231681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DVS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martDocumentor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</a:t>
            </a:r>
            <a:r>
              <a:rPr lang="pt-PT" sz="2000" b="1" spc="-102" dirty="0" err="1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SubmissionStatusReport</a:t>
            </a:r>
            <a:r>
              <a:rPr lang="pt-PT" sz="2000" b="1" spc="-102" dirty="0">
                <a:ln w="3175">
                  <a:noFill/>
                </a:ln>
                <a:solidFill>
                  <a:srgbClr val="505050"/>
                </a:solidFill>
                <a:cs typeface="Segoe UI" pitchFamily="34" charset="0"/>
              </a:rPr>
              <a:t>-PRD</a:t>
            </a:r>
            <a:endParaRPr lang="pt-PT" sz="20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9388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  <p:bldP spid="9" grpId="0"/>
      <p:bldP spid="11" grpId="0"/>
      <p:bldP spid="12" grpId="0"/>
      <p:bldP spid="13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3EA0F0-FF61-4F0C-B651-6F0F2DFC0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807" y="0"/>
            <a:ext cx="118503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139981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0BF0F40E-7427-4D05-9239-4AD2F5AF54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4" b="103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BCDB9-0CB4-4392-B23C-F9A93B507A9B}"/>
              </a:ext>
            </a:extLst>
          </p:cNvPr>
          <p:cNvSpPr/>
          <p:nvPr/>
        </p:nvSpPr>
        <p:spPr bwMode="auto">
          <a:xfrm>
            <a:off x="0" y="2226858"/>
            <a:ext cx="10274300" cy="1315054"/>
          </a:xfrm>
          <a:prstGeom prst="rect">
            <a:avLst/>
          </a:prstGeom>
          <a:solidFill>
            <a:srgbClr val="8CB1A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3A60EE-AFD5-4B34-8EE7-AB165748CE73}"/>
              </a:ext>
            </a:extLst>
          </p:cNvPr>
          <p:cNvSpPr txBox="1">
            <a:spLocks/>
          </p:cNvSpPr>
          <p:nvPr/>
        </p:nvSpPr>
        <p:spPr>
          <a:xfrm>
            <a:off x="269238" y="2377870"/>
            <a:ext cx="11653523" cy="1013030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" pitchFamily="34" charset="0"/>
              </a:rPr>
              <a:t>name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and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rename </a:t>
            </a:r>
            <a:r>
              <a:rPr kumimoji="0" lang="en-US" sz="6000" b="0" i="0" u="none" strike="noStrike" kern="1200" cap="none" spc="-102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ctions…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2A3C84-E802-4060-A260-BEF8B49D1FAB}"/>
              </a:ext>
            </a:extLst>
          </p:cNvPr>
          <p:cNvSpPr/>
          <p:nvPr/>
        </p:nvSpPr>
        <p:spPr>
          <a:xfrm>
            <a:off x="269238" y="161830"/>
            <a:ext cx="1892575" cy="1892575"/>
          </a:xfrm>
          <a:prstGeom prst="ellipse">
            <a:avLst/>
          </a:prstGeom>
          <a:solidFill>
            <a:srgbClr val="8CB1A5"/>
          </a:solidFill>
          <a:ln w="9525" cap="flat" cmpd="sng" algn="ctr">
            <a:noFill/>
            <a:prstDash val="solid"/>
          </a:ln>
          <a:effectLst/>
        </p:spPr>
        <p:txBody>
          <a:bodyPr wrap="none" tIns="107249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47180A-C4B1-4814-85F0-531C4DB7B11E}"/>
              </a:ext>
            </a:extLst>
          </p:cNvPr>
          <p:cNvSpPr txBox="1"/>
          <p:nvPr/>
        </p:nvSpPr>
        <p:spPr>
          <a:xfrm>
            <a:off x="646917" y="154787"/>
            <a:ext cx="1430197" cy="19574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abrica" pitchFamily="50" charset="0"/>
                <a:ea typeface="+mn-ea"/>
                <a:cs typeface="+mn-cs"/>
              </a:rPr>
              <a:t>2</a:t>
            </a:r>
            <a:endParaRPr kumimoji="0" lang="pt-PT" sz="1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abrica" pitchFamily="50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B64747-CE29-44DC-9E30-8F65A2C25E52}"/>
              </a:ext>
            </a:extLst>
          </p:cNvPr>
          <p:cNvSpPr txBox="1"/>
          <p:nvPr/>
        </p:nvSpPr>
        <p:spPr>
          <a:xfrm>
            <a:off x="4356100" y="542604"/>
            <a:ext cx="7411757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lvl="0" algn="ctr">
              <a:lnSpc>
                <a:spcPct val="90000"/>
              </a:lnSpc>
              <a:defRPr/>
            </a:pPr>
            <a:r>
              <a:rPr lang="en-US" sz="2400" b="1" spc="-102" dirty="0">
                <a:ln w="3175">
                  <a:noFill/>
                </a:ln>
                <a:solidFill>
                  <a:srgbClr val="505050"/>
                </a:solidFill>
                <a:latin typeface="Segoe UI Light"/>
                <a:cs typeface="Segoe UI" pitchFamily="34" charset="0"/>
              </a:rPr>
              <a:t>You can’t rename actions that have dependencies…</a:t>
            </a:r>
            <a:endParaRPr lang="en-US" sz="2800" b="1" spc="-102" dirty="0">
              <a:ln w="3175">
                <a:noFill/>
              </a:ln>
              <a:solidFill>
                <a:srgbClr val="505050"/>
              </a:solidFill>
              <a:latin typeface="Segoe UI 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80790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F4F1B2-744F-4FE7-A65D-78801235AC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9429"/>
            <a:ext cx="12043791" cy="62028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CE4C3E-4CD2-4905-8C49-EA06559381A5}"/>
              </a:ext>
            </a:extLst>
          </p:cNvPr>
          <p:cNvSpPr txBox="1"/>
          <p:nvPr/>
        </p:nvSpPr>
        <p:spPr>
          <a:xfrm>
            <a:off x="182880" y="1205036"/>
            <a:ext cx="3810187" cy="22898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Use descriptive nam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mproves readabilit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Transfer knowled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02" normalizeH="0" baseline="0" noProof="0" dirty="0">
                <a:ln w="3175"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ou can’t rename actions that have dependencies… directly</a:t>
            </a:r>
            <a:endParaRPr kumimoji="0" lang="en-US" sz="2000" b="1" i="0" u="none" strike="noStrike" kern="1200" cap="none" spc="-102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0CC4DA-4864-4F66-A7E7-E7E0178D3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6658" y="1169570"/>
            <a:ext cx="368081" cy="368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AC8CF0-6B61-4C97-82A5-E5CD112198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6658" y="1728156"/>
            <a:ext cx="368081" cy="368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992E97-5844-43D0-823A-97EA31C4D2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56658" y="2263882"/>
            <a:ext cx="368081" cy="368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08780C-AC0A-4DA8-BE14-552B582901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957" y="4194710"/>
            <a:ext cx="368081" cy="368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D035F80-455E-4E20-9703-110A2C89E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3957" y="4765425"/>
            <a:ext cx="368081" cy="368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54ACB2-A82B-47A6-9D78-C30B8B61EC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0978" y="4194710"/>
            <a:ext cx="368081" cy="368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0888A18-401A-4541-A04B-795E2D9A02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8138" y="3714749"/>
            <a:ext cx="370794" cy="3370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BA9174-CAF7-4194-B625-46518D1AF8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29663" y="3727983"/>
            <a:ext cx="370794" cy="33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182687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gnite_Breakout_Templat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 [Read-Only]" id="{28841E4C-3918-4368-B735-2FEE76A3D5D1}" vid="{2645CAE1-4F94-464F-93A7-E31E48A0E182}"/>
    </a:ext>
  </a:extLst>
</a:theme>
</file>

<file path=ppt/theme/theme2.xml><?xml version="1.0" encoding="utf-8"?>
<a:theme xmlns:a="http://schemas.openxmlformats.org/drawingml/2006/main" name="MSVID_Product_Brand_template_16-9_WHITE_Cyan-accent">
  <a:themeElements>
    <a:clrScheme name="Custom 1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68217A"/>
      </a:accent2>
      <a:accent3>
        <a:srgbClr val="008272"/>
      </a:accent3>
      <a:accent4>
        <a:srgbClr val="9B9B9B"/>
      </a:accent4>
      <a:accent5>
        <a:srgbClr val="442359"/>
      </a:accent5>
      <a:accent6>
        <a:srgbClr val="4668C5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2845F07494654D8260ABDFA57661FF" ma:contentTypeVersion="2" ma:contentTypeDescription="Create a new document." ma:contentTypeScope="" ma:versionID="02cc9d0af4e63cb470409b41d850869b">
  <xsd:schema xmlns:xsd="http://www.w3.org/2001/XMLSchema" xmlns:xs="http://www.w3.org/2001/XMLSchema" xmlns:p="http://schemas.microsoft.com/office/2006/metadata/properties" xmlns:ns2="da689626-ac0b-48a0-add0-43372147f367" targetNamespace="http://schemas.microsoft.com/office/2006/metadata/properties" ma:root="true" ma:fieldsID="0a7a15674e01c3ac0c0081601ec1742d" ns2:_="">
    <xsd:import namespace="da689626-ac0b-48a0-add0-43372147f3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689626-ac0b-48a0-add0-43372147f3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5E4094-D5CD-4077-854F-39CCB7DB09C0}">
  <ds:schemaRefs>
    <ds:schemaRef ds:uri="da689626-ac0b-48a0-add0-43372147f36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28E79CC-D063-4666-BEF3-370D981B126B}">
  <ds:schemaRefs>
    <ds:schemaRef ds:uri="da689626-ac0b-48a0-add0-43372147f36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6147428-19C2-4187-B20F-D116602B82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7</TotalTime>
  <Words>689</Words>
  <Application>Microsoft Office PowerPoint</Application>
  <PresentationFormat>Widescreen</PresentationFormat>
  <Paragraphs>133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9" baseType="lpstr">
      <vt:lpstr>Arial</vt:lpstr>
      <vt:lpstr>Calibri</vt:lpstr>
      <vt:lpstr>Consolas</vt:lpstr>
      <vt:lpstr>Fabrica</vt:lpstr>
      <vt:lpstr>nyt-magsans</vt:lpstr>
      <vt:lpstr>Segoe UI</vt:lpstr>
      <vt:lpstr>Segoe UI Black</vt:lpstr>
      <vt:lpstr>Segoe UI Light</vt:lpstr>
      <vt:lpstr>Segoe UI Semibold</vt:lpstr>
      <vt:lpstr>Segoe UI Semilight</vt:lpstr>
      <vt:lpstr>Wingdings</vt:lpstr>
      <vt:lpstr>Ignite_Breakout_Template</vt:lpstr>
      <vt:lpstr>MSVID_Product_Brand_template_16-9_WHITE_Cyan-accent</vt:lpstr>
      <vt:lpstr>think-cell Slide</vt:lpstr>
      <vt:lpstr>PowerPoint Presentation</vt:lpstr>
      <vt:lpstr>Sandro Pereir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s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ro Pereira</dc:creator>
  <cp:lastModifiedBy>Sandro Pereira</cp:lastModifiedBy>
  <cp:revision>6</cp:revision>
  <dcterms:created xsi:type="dcterms:W3CDTF">2020-05-04T13:55:47Z</dcterms:created>
  <dcterms:modified xsi:type="dcterms:W3CDTF">2020-06-29T22:51:49Z</dcterms:modified>
</cp:coreProperties>
</file>